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Lst>
  <p:notesMasterIdLst>
    <p:notesMasterId r:id="rId7"/>
  </p:notesMasterIdLst>
  <p:handoutMasterIdLst>
    <p:handoutMasterId r:id="rId8"/>
  </p:handoutMasterIdLst>
  <p:sldIdLst>
    <p:sldId id="2134805778" r:id="rId5"/>
    <p:sldId id="2134805780" r:id="rId6"/>
  </p:sldIdLst>
  <p:sldSz cx="12192000" cy="6858000"/>
  <p:notesSz cx="7099300" cy="9385300"/>
  <p:embeddedFontLst>
    <p:embeddedFont>
      <p:font typeface="Univers for BP" panose="020B0604020202020204" charset="0"/>
      <p:regular r:id="rId9"/>
      <p:bold r:id="rId10"/>
    </p:embeddedFont>
    <p:embeddedFont>
      <p:font typeface="Univers for BP Light" panose="020B0604020202020204" charset="0"/>
      <p:regular r:id="rId11"/>
    </p:embeddedFont>
  </p:embeddedFontLst>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267568-67AC-4D90-8E2C-E5A290E40761}">
          <p14:sldIdLst>
            <p14:sldId id="2134805778"/>
            <p14:sldId id="2134805780"/>
          </p14:sldIdLst>
        </p14:section>
        <p14:section name="Appendix" id="{B321BCE9-C90D-4F59-BB40-634104DC78E4}">
          <p14:sldIdLst/>
        </p14:section>
      </p14:sectionLst>
    </p:ex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Animation="0"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BC00"/>
    <a:srgbClr val="FFFFFF"/>
    <a:srgbClr val="F7F7F7"/>
    <a:srgbClr val="666666"/>
    <a:srgbClr val="009EE0"/>
    <a:srgbClr val="CCFF00"/>
    <a:srgbClr val="0D0D0D"/>
    <a:srgbClr val="E41F18"/>
    <a:srgbClr val="FF6600"/>
    <a:srgbClr val="00F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A9C816-C98D-43B1-8AAB-0139E8BD2841}" v="5" dt="2024-08-06T22:57:14.2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51" d="100"/>
          <a:sy n="51" d="100"/>
        </p:scale>
        <p:origin x="77" y="408"/>
      </p:cViewPr>
      <p:guideLst>
        <p:guide pos="3840"/>
        <p:guide orient="horz" pos="216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font" Target="fonts/font3.fntdata"/><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font" Target="fonts/font1.fntdata"/><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E7E31C7-AE07-4FEA-B53F-FD6CC0506FD1}"/>
              </a:ext>
            </a:extLst>
          </p:cNvPr>
          <p:cNvSpPr>
            <a:spLocks noGrp="1"/>
          </p:cNvSpPr>
          <p:nvPr>
            <p:ph type="hdr" sz="quarter"/>
          </p:nvPr>
        </p:nvSpPr>
        <p:spPr>
          <a:xfrm>
            <a:off x="0" y="0"/>
            <a:ext cx="3076363" cy="470894"/>
          </a:xfrm>
          <a:prstGeom prst="rect">
            <a:avLst/>
          </a:prstGeom>
        </p:spPr>
        <p:txBody>
          <a:bodyPr vert="horz" lIns="94193" tIns="47097" rIns="94193" bIns="47097" rtlCol="0"/>
          <a:lstStyle>
            <a:lvl1pPr algn="l">
              <a:defRPr sz="1200"/>
            </a:lvl1pPr>
          </a:lstStyle>
          <a:p>
            <a:endParaRPr lang="en-GB"/>
          </a:p>
        </p:txBody>
      </p:sp>
      <p:sp>
        <p:nvSpPr>
          <p:cNvPr id="3" name="Date Placeholder 2">
            <a:extLst>
              <a:ext uri="{FF2B5EF4-FFF2-40B4-BE49-F238E27FC236}">
                <a16:creationId xmlns:a16="http://schemas.microsoft.com/office/drawing/2014/main" id="{26DC2241-C186-4E09-8E71-DAB82EA681FE}"/>
              </a:ext>
            </a:extLst>
          </p:cNvPr>
          <p:cNvSpPr>
            <a:spLocks noGrp="1"/>
          </p:cNvSpPr>
          <p:nvPr>
            <p:ph type="dt" sz="quarter" idx="1"/>
          </p:nvPr>
        </p:nvSpPr>
        <p:spPr>
          <a:xfrm>
            <a:off x="4021294" y="0"/>
            <a:ext cx="3076363" cy="470894"/>
          </a:xfrm>
          <a:prstGeom prst="rect">
            <a:avLst/>
          </a:prstGeom>
        </p:spPr>
        <p:txBody>
          <a:bodyPr vert="horz" lIns="94193" tIns="47097" rIns="94193" bIns="47097" rtlCol="0"/>
          <a:lstStyle>
            <a:lvl1pPr algn="r">
              <a:defRPr sz="1200"/>
            </a:lvl1pPr>
          </a:lstStyle>
          <a:p>
            <a:fld id="{64E12C9F-7E34-47E8-B6BF-A92A4C41CA74}" type="datetimeFigureOut">
              <a:rPr lang="en-GB" smtClean="0"/>
              <a:t>07/08/2024</a:t>
            </a:fld>
            <a:endParaRPr lang="en-GB"/>
          </a:p>
        </p:txBody>
      </p:sp>
      <p:sp>
        <p:nvSpPr>
          <p:cNvPr id="4" name="Footer Placeholder 3">
            <a:extLst>
              <a:ext uri="{FF2B5EF4-FFF2-40B4-BE49-F238E27FC236}">
                <a16:creationId xmlns:a16="http://schemas.microsoft.com/office/drawing/2014/main" id="{94DD8521-1EFC-4B10-9C28-C379EC73F57D}"/>
              </a:ext>
            </a:extLst>
          </p:cNvPr>
          <p:cNvSpPr>
            <a:spLocks noGrp="1"/>
          </p:cNvSpPr>
          <p:nvPr>
            <p:ph type="ftr" sz="quarter" idx="2"/>
          </p:nvPr>
        </p:nvSpPr>
        <p:spPr>
          <a:xfrm>
            <a:off x="0" y="8914407"/>
            <a:ext cx="3076363" cy="470893"/>
          </a:xfrm>
          <a:prstGeom prst="rect">
            <a:avLst/>
          </a:prstGeom>
        </p:spPr>
        <p:txBody>
          <a:bodyPr vert="horz" lIns="94193" tIns="47097" rIns="94193" bIns="47097"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8C12E53-E9DB-47F2-A537-43F76B46874D}"/>
              </a:ext>
            </a:extLst>
          </p:cNvPr>
          <p:cNvSpPr>
            <a:spLocks noGrp="1"/>
          </p:cNvSpPr>
          <p:nvPr>
            <p:ph type="sldNum" sz="quarter" idx="3"/>
          </p:nvPr>
        </p:nvSpPr>
        <p:spPr>
          <a:xfrm>
            <a:off x="4021294" y="8914407"/>
            <a:ext cx="3076363" cy="470893"/>
          </a:xfrm>
          <a:prstGeom prst="rect">
            <a:avLst/>
          </a:prstGeom>
        </p:spPr>
        <p:txBody>
          <a:bodyPr vert="horz" lIns="94193" tIns="47097" rIns="94193" bIns="47097" rtlCol="0" anchor="b"/>
          <a:lstStyle>
            <a:lvl1pPr algn="r">
              <a:defRPr sz="1200"/>
            </a:lvl1pPr>
          </a:lstStyle>
          <a:p>
            <a:fld id="{CBD54110-8A65-4866-A061-51E7E8EF84CA}" type="slidenum">
              <a:rPr lang="en-GB" smtClean="0"/>
              <a:t>‹#›</a:t>
            </a:fld>
            <a:endParaRPr lang="en-GB"/>
          </a:p>
        </p:txBody>
      </p:sp>
    </p:spTree>
    <p:extLst>
      <p:ext uri="{BB962C8B-B14F-4D97-AF65-F5344CB8AC3E}">
        <p14:creationId xmlns:p14="http://schemas.microsoft.com/office/powerpoint/2010/main" val="21857846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470894"/>
          </a:xfrm>
          <a:prstGeom prst="rect">
            <a:avLst/>
          </a:prstGeom>
        </p:spPr>
        <p:txBody>
          <a:bodyPr vert="horz" lIns="94193" tIns="47097" rIns="94193" bIns="47097" rtlCol="0"/>
          <a:lstStyle>
            <a:lvl1pPr algn="l">
              <a:defRPr sz="1200"/>
            </a:lvl1pPr>
          </a:lstStyle>
          <a:p>
            <a:endParaRPr lang="en-GB"/>
          </a:p>
        </p:txBody>
      </p:sp>
      <p:sp>
        <p:nvSpPr>
          <p:cNvPr id="3" name="Date Placeholder 2"/>
          <p:cNvSpPr>
            <a:spLocks noGrp="1"/>
          </p:cNvSpPr>
          <p:nvPr>
            <p:ph type="dt" idx="1"/>
          </p:nvPr>
        </p:nvSpPr>
        <p:spPr>
          <a:xfrm>
            <a:off x="4021294" y="0"/>
            <a:ext cx="3076363" cy="470894"/>
          </a:xfrm>
          <a:prstGeom prst="rect">
            <a:avLst/>
          </a:prstGeom>
        </p:spPr>
        <p:txBody>
          <a:bodyPr vert="horz" lIns="94193" tIns="47097" rIns="94193" bIns="47097" rtlCol="0"/>
          <a:lstStyle>
            <a:lvl1pPr algn="r">
              <a:defRPr sz="1200"/>
            </a:lvl1pPr>
          </a:lstStyle>
          <a:p>
            <a:fld id="{D25E657C-6999-4597-91C5-A68659CE2EC3}" type="datetimeFigureOut">
              <a:rPr lang="en-GB" smtClean="0"/>
              <a:t>07/08/2024</a:t>
            </a:fld>
            <a:endParaRPr lang="en-GB"/>
          </a:p>
        </p:txBody>
      </p:sp>
      <p:sp>
        <p:nvSpPr>
          <p:cNvPr id="4" name="Slide Image Placeholder 3"/>
          <p:cNvSpPr>
            <a:spLocks noGrp="1" noRot="1" noChangeAspect="1"/>
          </p:cNvSpPr>
          <p:nvPr>
            <p:ph type="sldImg" idx="2"/>
          </p:nvPr>
        </p:nvSpPr>
        <p:spPr>
          <a:xfrm>
            <a:off x="735013" y="1173163"/>
            <a:ext cx="5629275" cy="3167062"/>
          </a:xfrm>
          <a:prstGeom prst="rect">
            <a:avLst/>
          </a:prstGeom>
          <a:noFill/>
          <a:ln w="12700">
            <a:solidFill>
              <a:prstClr val="black"/>
            </a:solidFill>
          </a:ln>
        </p:spPr>
        <p:txBody>
          <a:bodyPr vert="horz" lIns="94193" tIns="47097" rIns="94193" bIns="47097" rtlCol="0" anchor="ctr"/>
          <a:lstStyle/>
          <a:p>
            <a:endParaRPr lang="en-GB"/>
          </a:p>
        </p:txBody>
      </p:sp>
      <p:sp>
        <p:nvSpPr>
          <p:cNvPr id="5" name="Notes Placeholder 4"/>
          <p:cNvSpPr>
            <a:spLocks noGrp="1"/>
          </p:cNvSpPr>
          <p:nvPr>
            <p:ph type="body" sz="quarter" idx="3"/>
          </p:nvPr>
        </p:nvSpPr>
        <p:spPr>
          <a:xfrm>
            <a:off x="709930" y="4516675"/>
            <a:ext cx="5679440" cy="3695462"/>
          </a:xfrm>
          <a:prstGeom prst="rect">
            <a:avLst/>
          </a:prstGeom>
        </p:spPr>
        <p:txBody>
          <a:bodyPr vert="horz" lIns="94193" tIns="47097" rIns="94193" bIns="4709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914407"/>
            <a:ext cx="3076363" cy="470893"/>
          </a:xfrm>
          <a:prstGeom prst="rect">
            <a:avLst/>
          </a:prstGeom>
        </p:spPr>
        <p:txBody>
          <a:bodyPr vert="horz" lIns="94193" tIns="47097" rIns="94193" bIns="47097" rtlCol="0" anchor="b"/>
          <a:lstStyle>
            <a:lvl1pPr algn="l">
              <a:defRPr sz="1200"/>
            </a:lvl1pPr>
          </a:lstStyle>
          <a:p>
            <a:endParaRPr lang="en-GB"/>
          </a:p>
        </p:txBody>
      </p:sp>
      <p:sp>
        <p:nvSpPr>
          <p:cNvPr id="7" name="Slide Number Placeholder 6"/>
          <p:cNvSpPr>
            <a:spLocks noGrp="1"/>
          </p:cNvSpPr>
          <p:nvPr>
            <p:ph type="sldNum" sz="quarter" idx="5"/>
          </p:nvPr>
        </p:nvSpPr>
        <p:spPr>
          <a:xfrm>
            <a:off x="4021294" y="8914407"/>
            <a:ext cx="3076363" cy="470893"/>
          </a:xfrm>
          <a:prstGeom prst="rect">
            <a:avLst/>
          </a:prstGeom>
        </p:spPr>
        <p:txBody>
          <a:bodyPr vert="horz" lIns="94193" tIns="47097" rIns="94193" bIns="47097" rtlCol="0" anchor="b"/>
          <a:lstStyle>
            <a:lvl1pPr algn="r">
              <a:defRPr sz="1200"/>
            </a:lvl1pPr>
          </a:lstStyle>
          <a:p>
            <a:fld id="{48CF49D3-42FC-4A88-B75A-FFF1B3A272B9}" type="slidenum">
              <a:rPr lang="en-GB" smtClean="0"/>
              <a:t>‹#›</a:t>
            </a:fld>
            <a:endParaRPr lang="en-GB"/>
          </a:p>
        </p:txBody>
      </p:sp>
    </p:spTree>
    <p:extLst>
      <p:ext uri="{BB962C8B-B14F-4D97-AF65-F5344CB8AC3E}">
        <p14:creationId xmlns:p14="http://schemas.microsoft.com/office/powerpoint/2010/main" val="4073945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jpe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jpeg"/><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3.sv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6.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8.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10.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1382447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B154BA32-EAC3-41AC-93DC-B2B50B4DB0F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572" y="443583"/>
            <a:ext cx="658441" cy="877146"/>
          </a:xfrm>
          <a:prstGeom prst="rect">
            <a:avLst/>
          </a:prstGeom>
        </p:spPr>
      </p:pic>
      <p:sp>
        <p:nvSpPr>
          <p:cNvPr id="17" name="Text Placeholder 9">
            <a:extLst>
              <a:ext uri="{FF2B5EF4-FFF2-40B4-BE49-F238E27FC236}">
                <a16:creationId xmlns:a16="http://schemas.microsoft.com/office/drawing/2014/main" id="{5B345963-44C4-4EDB-BADE-56C839CB49A7}"/>
              </a:ext>
            </a:extLst>
          </p:cNvPr>
          <p:cNvSpPr>
            <a:spLocks noGrp="1"/>
          </p:cNvSpPr>
          <p:nvPr>
            <p:ph type="body" sz="quarter" idx="14" hasCustomPrompt="1"/>
          </p:nvPr>
        </p:nvSpPr>
        <p:spPr>
          <a:xfrm>
            <a:off x="407988" y="4058084"/>
            <a:ext cx="10352086"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1" name="Text Placeholder 9">
            <a:extLst>
              <a:ext uri="{FF2B5EF4-FFF2-40B4-BE49-F238E27FC236}">
                <a16:creationId xmlns:a16="http://schemas.microsoft.com/office/drawing/2014/main" id="{0193C2A1-FDB3-4F52-8D99-DEB0EB1C182B}"/>
              </a:ext>
            </a:extLst>
          </p:cNvPr>
          <p:cNvSpPr>
            <a:spLocks noGrp="1"/>
          </p:cNvSpPr>
          <p:nvPr>
            <p:ph type="body" sz="quarter" idx="15" hasCustomPrompt="1"/>
          </p:nvPr>
        </p:nvSpPr>
        <p:spPr>
          <a:xfrm>
            <a:off x="407988" y="4958629"/>
            <a:ext cx="10352085"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3" name="Graphic 2">
            <a:extLst>
              <a:ext uri="{FF2B5EF4-FFF2-40B4-BE49-F238E27FC236}">
                <a16:creationId xmlns:a16="http://schemas.microsoft.com/office/drawing/2014/main" id="{A968D89E-3206-441B-A8D9-E97E9CEDA0A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07988" y="6174856"/>
            <a:ext cx="944562" cy="450814"/>
          </a:xfrm>
          <a:prstGeom prst="rect">
            <a:avLst/>
          </a:prstGeom>
        </p:spPr>
      </p:pic>
      <p:sp>
        <p:nvSpPr>
          <p:cNvPr id="8" name="Text Placeholder 9">
            <a:extLst>
              <a:ext uri="{FF2B5EF4-FFF2-40B4-BE49-F238E27FC236}">
                <a16:creationId xmlns:a16="http://schemas.microsoft.com/office/drawing/2014/main" id="{2F7104C6-0C25-4090-8387-336C91D2CCE0}"/>
              </a:ext>
            </a:extLst>
          </p:cNvPr>
          <p:cNvSpPr>
            <a:spLocks noGrp="1"/>
          </p:cNvSpPr>
          <p:nvPr>
            <p:ph type="body" sz="quarter" idx="11" hasCustomPrompt="1"/>
          </p:nvPr>
        </p:nvSpPr>
        <p:spPr>
          <a:xfrm>
            <a:off x="407987" y="448344"/>
            <a:ext cx="10352087" cy="3449401"/>
          </a:xfrm>
        </p:spPr>
        <p:txBody>
          <a:bodyPr anchor="b">
            <a:noAutofit/>
          </a:bodyPr>
          <a:lstStyle>
            <a:lvl1pPr marL="0" indent="0">
              <a:lnSpc>
                <a:spcPct val="90000"/>
              </a:lnSpc>
              <a:spcBef>
                <a:spcPts val="0"/>
              </a:spcBef>
              <a:buFont typeface="Arial" panose="020B0604020202020204" pitchFamily="34" charset="0"/>
              <a:buNone/>
              <a:defRPr sz="5400">
                <a:solidFill>
                  <a:schemeClr val="accent5"/>
                </a:solidFill>
              </a:defRPr>
            </a:lvl1pPr>
            <a:lvl2pPr marL="0" indent="0">
              <a:lnSpc>
                <a:spcPct val="90000"/>
              </a:lnSpc>
              <a:spcBef>
                <a:spcPts val="500"/>
              </a:spcBef>
              <a:buNone/>
              <a:defRPr sz="5400">
                <a:solidFill>
                  <a:schemeClr val="accent1"/>
                </a:solidFill>
                <a:latin typeface="+mn-lt"/>
              </a:defRPr>
            </a:lvl2pPr>
            <a:lvl3pPr marL="0" indent="0">
              <a:lnSpc>
                <a:spcPct val="90000"/>
              </a:lnSpc>
              <a:buNone/>
              <a:defRPr sz="5400">
                <a:solidFill>
                  <a:schemeClr val="accent5"/>
                </a:solidFill>
              </a:defRPr>
            </a:lvl3pPr>
            <a:lvl4pPr marL="0" indent="0">
              <a:lnSpc>
                <a:spcPct val="90000"/>
              </a:lnSpc>
              <a:buFont typeface="Arial" panose="020B0604020202020204" pitchFamily="34" charset="0"/>
              <a:buNone/>
              <a:defRPr sz="5400">
                <a:solidFill>
                  <a:schemeClr val="accent5"/>
                </a:solidFill>
              </a:defRPr>
            </a:lvl4pPr>
            <a:lvl5pPr marL="0" indent="0">
              <a:lnSpc>
                <a:spcPct val="90000"/>
              </a:lnSpc>
              <a:buFont typeface="Arial" panose="020B0604020202020204" pitchFamily="34" charset="0"/>
              <a:buNone/>
              <a:defRPr sz="5400">
                <a:solidFill>
                  <a:schemeClr val="accent5"/>
                </a:solidFill>
              </a:defRPr>
            </a:lvl5pPr>
            <a:lvl6pPr>
              <a:defRPr sz="5400">
                <a:solidFill>
                  <a:schemeClr val="accent5"/>
                </a:solidFill>
              </a:defRPr>
            </a:lvl6pPr>
            <a:lvl7pPr>
              <a:defRPr sz="5400">
                <a:solidFill>
                  <a:schemeClr val="accent5"/>
                </a:solidFill>
              </a:defRPr>
            </a:lvl7pPr>
            <a:lvl8pPr>
              <a:defRPr sz="5400">
                <a:solidFill>
                  <a:schemeClr val="accent5"/>
                </a:solidFill>
              </a:defRPr>
            </a:lvl8pPr>
            <a:lvl9pPr>
              <a:defRPr sz="54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268006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ight Green Title Dark Image">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421851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AB47B13-4813-41BA-8492-66638707E200}"/>
              </a:ext>
            </a:extLst>
          </p:cNvPr>
          <p:cNvSpPr/>
          <p:nvPr userDrawn="1"/>
        </p:nvSpPr>
        <p:spPr>
          <a:xfrm>
            <a:off x="6096000" y="0"/>
            <a:ext cx="6096000" cy="685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a:extLst>
              <a:ext uri="{FF2B5EF4-FFF2-40B4-BE49-F238E27FC236}">
                <a16:creationId xmlns:a16="http://schemas.microsoft.com/office/drawing/2014/main" id="{AC4E9E39-355E-4B7C-A0FE-C929BB379CAD}"/>
              </a:ext>
            </a:extLst>
          </p:cNvPr>
          <p:cNvSpPr>
            <a:spLocks noGrp="1"/>
          </p:cNvSpPr>
          <p:nvPr>
            <p:ph type="pic" sz="quarter" idx="14" hasCustomPrompt="1"/>
          </p:nvPr>
        </p:nvSpPr>
        <p:spPr>
          <a:xfrm>
            <a:off x="6096000" y="6"/>
            <a:ext cx="6096000" cy="6857994"/>
          </a:xfrm>
          <a:custGeom>
            <a:avLst/>
            <a:gdLst>
              <a:gd name="connsiteX0" fmla="*/ 5356504 w 6096000"/>
              <a:gd name="connsiteY0" fmla="*/ 1193834 h 6857994"/>
              <a:gd name="connsiteX1" fmla="*/ 5316102 w 6096000"/>
              <a:gd name="connsiteY1" fmla="*/ 1248052 h 6857994"/>
              <a:gd name="connsiteX2" fmla="*/ 5356411 w 6096000"/>
              <a:gd name="connsiteY2" fmla="*/ 1321469 h 6857994"/>
              <a:gd name="connsiteX3" fmla="*/ 5396766 w 6096000"/>
              <a:gd name="connsiteY3" fmla="*/ 1248052 h 6857994"/>
              <a:gd name="connsiteX4" fmla="*/ 5356504 w 6096000"/>
              <a:gd name="connsiteY4" fmla="*/ 1193834 h 6857994"/>
              <a:gd name="connsiteX5" fmla="*/ 5427592 w 6096000"/>
              <a:gd name="connsiteY5" fmla="*/ 1181415 h 6857994"/>
              <a:gd name="connsiteX6" fmla="*/ 5408416 w 6096000"/>
              <a:gd name="connsiteY6" fmla="*/ 1246047 h 6857994"/>
              <a:gd name="connsiteX7" fmla="*/ 5471325 w 6096000"/>
              <a:gd name="connsiteY7" fmla="*/ 1301291 h 6857994"/>
              <a:gd name="connsiteX8" fmla="*/ 5483977 w 6096000"/>
              <a:gd name="connsiteY8" fmla="*/ 1218485 h 6857994"/>
              <a:gd name="connsiteX9" fmla="*/ 5427592 w 6096000"/>
              <a:gd name="connsiteY9" fmla="*/ 1181415 h 6857994"/>
              <a:gd name="connsiteX10" fmla="*/ 5285440 w 6096000"/>
              <a:gd name="connsiteY10" fmla="*/ 1181413 h 6857994"/>
              <a:gd name="connsiteX11" fmla="*/ 5229008 w 6096000"/>
              <a:gd name="connsiteY11" fmla="*/ 1218483 h 6857994"/>
              <a:gd name="connsiteX12" fmla="*/ 5241939 w 6096000"/>
              <a:gd name="connsiteY12" fmla="*/ 1301267 h 6857994"/>
              <a:gd name="connsiteX13" fmla="*/ 5304849 w 6096000"/>
              <a:gd name="connsiteY13" fmla="*/ 1246046 h 6857994"/>
              <a:gd name="connsiteX14" fmla="*/ 5285440 w 6096000"/>
              <a:gd name="connsiteY14" fmla="*/ 1181413 h 6857994"/>
              <a:gd name="connsiteX15" fmla="*/ 5490151 w 6096000"/>
              <a:gd name="connsiteY15" fmla="*/ 1145346 h 6857994"/>
              <a:gd name="connsiteX16" fmla="*/ 5494368 w 6096000"/>
              <a:gd name="connsiteY16" fmla="*/ 1197282 h 6857994"/>
              <a:gd name="connsiteX17" fmla="*/ 5493995 w 6096000"/>
              <a:gd name="connsiteY17" fmla="*/ 1212707 h 6857994"/>
              <a:gd name="connsiteX18" fmla="*/ 5572073 w 6096000"/>
              <a:gd name="connsiteY18" fmla="*/ 1242995 h 6857994"/>
              <a:gd name="connsiteX19" fmla="*/ 5555763 w 6096000"/>
              <a:gd name="connsiteY19" fmla="*/ 1160840 h 6857994"/>
              <a:gd name="connsiteX20" fmla="*/ 5490151 w 6096000"/>
              <a:gd name="connsiteY20" fmla="*/ 1145346 h 6857994"/>
              <a:gd name="connsiteX21" fmla="*/ 5222904 w 6096000"/>
              <a:gd name="connsiteY21" fmla="*/ 1145345 h 6857994"/>
              <a:gd name="connsiteX22" fmla="*/ 5157292 w 6096000"/>
              <a:gd name="connsiteY22" fmla="*/ 1160840 h 6857994"/>
              <a:gd name="connsiteX23" fmla="*/ 5140982 w 6096000"/>
              <a:gd name="connsiteY23" fmla="*/ 1242994 h 6857994"/>
              <a:gd name="connsiteX24" fmla="*/ 5219059 w 6096000"/>
              <a:gd name="connsiteY24" fmla="*/ 1212706 h 6857994"/>
              <a:gd name="connsiteX25" fmla="*/ 5218663 w 6096000"/>
              <a:gd name="connsiteY25" fmla="*/ 1197281 h 6857994"/>
              <a:gd name="connsiteX26" fmla="*/ 5222904 w 6096000"/>
              <a:gd name="connsiteY26" fmla="*/ 1145345 h 6857994"/>
              <a:gd name="connsiteX27" fmla="*/ 5382250 w 6096000"/>
              <a:gd name="connsiteY27" fmla="*/ 1132134 h 6857994"/>
              <a:gd name="connsiteX28" fmla="*/ 5362049 w 6096000"/>
              <a:gd name="connsiteY28" fmla="*/ 1184116 h 6857994"/>
              <a:gd name="connsiteX29" fmla="*/ 5400936 w 6096000"/>
              <a:gd name="connsiteY29" fmla="*/ 1237914 h 6857994"/>
              <a:gd name="connsiteX30" fmla="*/ 5419087 w 6096000"/>
              <a:gd name="connsiteY30" fmla="*/ 1174074 h 6857994"/>
              <a:gd name="connsiteX31" fmla="*/ 5382250 w 6096000"/>
              <a:gd name="connsiteY31" fmla="*/ 1132134 h 6857994"/>
              <a:gd name="connsiteX32" fmla="*/ 5330782 w 6096000"/>
              <a:gd name="connsiteY32" fmla="*/ 1132132 h 6857994"/>
              <a:gd name="connsiteX33" fmla="*/ 5293968 w 6096000"/>
              <a:gd name="connsiteY33" fmla="*/ 1174258 h 6857994"/>
              <a:gd name="connsiteX34" fmla="*/ 5312118 w 6096000"/>
              <a:gd name="connsiteY34" fmla="*/ 1238100 h 6857994"/>
              <a:gd name="connsiteX35" fmla="*/ 5351006 w 6096000"/>
              <a:gd name="connsiteY35" fmla="*/ 1184184 h 6857994"/>
              <a:gd name="connsiteX36" fmla="*/ 5330782 w 6096000"/>
              <a:gd name="connsiteY36" fmla="*/ 1132132 h 6857994"/>
              <a:gd name="connsiteX37" fmla="*/ 5430644 w 6096000"/>
              <a:gd name="connsiteY37" fmla="*/ 1114473 h 6857994"/>
              <a:gd name="connsiteX38" fmla="*/ 5431949 w 6096000"/>
              <a:gd name="connsiteY38" fmla="*/ 1136887 h 6857994"/>
              <a:gd name="connsiteX39" fmla="*/ 5429386 w 6096000"/>
              <a:gd name="connsiteY39" fmla="*/ 1170392 h 6857994"/>
              <a:gd name="connsiteX40" fmla="*/ 5484373 w 6096000"/>
              <a:gd name="connsiteY40" fmla="*/ 1207672 h 6857994"/>
              <a:gd name="connsiteX41" fmla="*/ 5484583 w 6096000"/>
              <a:gd name="connsiteY41" fmla="*/ 1197373 h 6857994"/>
              <a:gd name="connsiteX42" fmla="*/ 5479574 w 6096000"/>
              <a:gd name="connsiteY42" fmla="*/ 1141454 h 6857994"/>
              <a:gd name="connsiteX43" fmla="*/ 5430644 w 6096000"/>
              <a:gd name="connsiteY43" fmla="*/ 1114473 h 6857994"/>
              <a:gd name="connsiteX44" fmla="*/ 5282388 w 6096000"/>
              <a:gd name="connsiteY44" fmla="*/ 1114471 h 6857994"/>
              <a:gd name="connsiteX45" fmla="*/ 5233435 w 6096000"/>
              <a:gd name="connsiteY45" fmla="*/ 1141522 h 6857994"/>
              <a:gd name="connsiteX46" fmla="*/ 5228379 w 6096000"/>
              <a:gd name="connsiteY46" fmla="*/ 1197303 h 6857994"/>
              <a:gd name="connsiteX47" fmla="*/ 5228636 w 6096000"/>
              <a:gd name="connsiteY47" fmla="*/ 1207647 h 6857994"/>
              <a:gd name="connsiteX48" fmla="*/ 5283576 w 6096000"/>
              <a:gd name="connsiteY48" fmla="*/ 1170367 h 6857994"/>
              <a:gd name="connsiteX49" fmla="*/ 5281083 w 6096000"/>
              <a:gd name="connsiteY49" fmla="*/ 1136909 h 6857994"/>
              <a:gd name="connsiteX50" fmla="*/ 5282388 w 6096000"/>
              <a:gd name="connsiteY50" fmla="*/ 1114471 h 6857994"/>
              <a:gd name="connsiteX51" fmla="*/ 5603481 w 6096000"/>
              <a:gd name="connsiteY51" fmla="*/ 1082157 h 6857994"/>
              <a:gd name="connsiteX52" fmla="*/ 5536564 w 6096000"/>
              <a:gd name="connsiteY52" fmla="*/ 1090102 h 6857994"/>
              <a:gd name="connsiteX53" fmla="*/ 5563056 w 6096000"/>
              <a:gd name="connsiteY53" fmla="*/ 1152010 h 6857994"/>
              <a:gd name="connsiteX54" fmla="*/ 5646935 w 6096000"/>
              <a:gd name="connsiteY54" fmla="*/ 1153804 h 6857994"/>
              <a:gd name="connsiteX55" fmla="*/ 5603481 w 6096000"/>
              <a:gd name="connsiteY55" fmla="*/ 1082157 h 6857994"/>
              <a:gd name="connsiteX56" fmla="*/ 5109574 w 6096000"/>
              <a:gd name="connsiteY56" fmla="*/ 1082156 h 6857994"/>
              <a:gd name="connsiteX57" fmla="*/ 5066050 w 6096000"/>
              <a:gd name="connsiteY57" fmla="*/ 1153710 h 6857994"/>
              <a:gd name="connsiteX58" fmla="*/ 5149789 w 6096000"/>
              <a:gd name="connsiteY58" fmla="*/ 1151893 h 6857994"/>
              <a:gd name="connsiteX59" fmla="*/ 5176537 w 6096000"/>
              <a:gd name="connsiteY59" fmla="*/ 1090101 h 6857994"/>
              <a:gd name="connsiteX60" fmla="*/ 5109574 w 6096000"/>
              <a:gd name="connsiteY60" fmla="*/ 1082156 h 6857994"/>
              <a:gd name="connsiteX61" fmla="*/ 5470044 w 6096000"/>
              <a:gd name="connsiteY61" fmla="*/ 1081410 h 6857994"/>
              <a:gd name="connsiteX62" fmla="*/ 5488055 w 6096000"/>
              <a:gd name="connsiteY62" fmla="*/ 1134254 h 6857994"/>
              <a:gd name="connsiteX63" fmla="*/ 5552432 w 6096000"/>
              <a:gd name="connsiteY63" fmla="*/ 1150564 h 6857994"/>
              <a:gd name="connsiteX64" fmla="*/ 5525264 w 6096000"/>
              <a:gd name="connsiteY64" fmla="*/ 1089984 h 6857994"/>
              <a:gd name="connsiteX65" fmla="*/ 5470044 w 6096000"/>
              <a:gd name="connsiteY65" fmla="*/ 1081410 h 6857994"/>
              <a:gd name="connsiteX66" fmla="*/ 5242988 w 6096000"/>
              <a:gd name="connsiteY66" fmla="*/ 1081410 h 6857994"/>
              <a:gd name="connsiteX67" fmla="*/ 5187744 w 6096000"/>
              <a:gd name="connsiteY67" fmla="*/ 1090031 h 6857994"/>
              <a:gd name="connsiteX68" fmla="*/ 5160623 w 6096000"/>
              <a:gd name="connsiteY68" fmla="*/ 1150610 h 6857994"/>
              <a:gd name="connsiteX69" fmla="*/ 5224977 w 6096000"/>
              <a:gd name="connsiteY69" fmla="*/ 1134300 h 6857994"/>
              <a:gd name="connsiteX70" fmla="*/ 5242988 w 6096000"/>
              <a:gd name="connsiteY70" fmla="*/ 1081410 h 6857994"/>
              <a:gd name="connsiteX71" fmla="*/ 5356504 w 6096000"/>
              <a:gd name="connsiteY71" fmla="*/ 1076631 h 6857994"/>
              <a:gd name="connsiteX72" fmla="*/ 5338051 w 6096000"/>
              <a:gd name="connsiteY72" fmla="*/ 1120574 h 6857994"/>
              <a:gd name="connsiteX73" fmla="*/ 5356504 w 6096000"/>
              <a:gd name="connsiteY73" fmla="*/ 1173581 h 6857994"/>
              <a:gd name="connsiteX74" fmla="*/ 5374958 w 6096000"/>
              <a:gd name="connsiteY74" fmla="*/ 1120574 h 6857994"/>
              <a:gd name="connsiteX75" fmla="*/ 5356504 w 6096000"/>
              <a:gd name="connsiteY75" fmla="*/ 1076631 h 6857994"/>
              <a:gd name="connsiteX76" fmla="*/ 5387469 w 6096000"/>
              <a:gd name="connsiteY76" fmla="*/ 1071180 h 6857994"/>
              <a:gd name="connsiteX77" fmla="*/ 5388168 w 6096000"/>
              <a:gd name="connsiteY77" fmla="*/ 1085603 h 6857994"/>
              <a:gd name="connsiteX78" fmla="*/ 5385116 w 6096000"/>
              <a:gd name="connsiteY78" fmla="*/ 1118758 h 6857994"/>
              <a:gd name="connsiteX79" fmla="*/ 5420508 w 6096000"/>
              <a:gd name="connsiteY79" fmla="*/ 1162212 h 6857994"/>
              <a:gd name="connsiteX80" fmla="*/ 5422139 w 6096000"/>
              <a:gd name="connsiteY80" fmla="*/ 1136839 h 6857994"/>
              <a:gd name="connsiteX81" fmla="*/ 5419809 w 6096000"/>
              <a:gd name="connsiteY81" fmla="*/ 1106130 h 6857994"/>
              <a:gd name="connsiteX82" fmla="*/ 5387469 w 6096000"/>
              <a:gd name="connsiteY82" fmla="*/ 1071180 h 6857994"/>
              <a:gd name="connsiteX83" fmla="*/ 5325562 w 6096000"/>
              <a:gd name="connsiteY83" fmla="*/ 1071179 h 6857994"/>
              <a:gd name="connsiteX84" fmla="*/ 5293152 w 6096000"/>
              <a:gd name="connsiteY84" fmla="*/ 1106175 h 6857994"/>
              <a:gd name="connsiteX85" fmla="*/ 5290823 w 6096000"/>
              <a:gd name="connsiteY85" fmla="*/ 1136908 h 6857994"/>
              <a:gd name="connsiteX86" fmla="*/ 5292430 w 6096000"/>
              <a:gd name="connsiteY86" fmla="*/ 1162258 h 6857994"/>
              <a:gd name="connsiteX87" fmla="*/ 5327869 w 6096000"/>
              <a:gd name="connsiteY87" fmla="*/ 1118757 h 6857994"/>
              <a:gd name="connsiteX88" fmla="*/ 5324887 w 6096000"/>
              <a:gd name="connsiteY88" fmla="*/ 1085602 h 6857994"/>
              <a:gd name="connsiteX89" fmla="*/ 5325562 w 6096000"/>
              <a:gd name="connsiteY89" fmla="*/ 1071179 h 6857994"/>
              <a:gd name="connsiteX90" fmla="*/ 5414684 w 6096000"/>
              <a:gd name="connsiteY90" fmla="*/ 1055430 h 6857994"/>
              <a:gd name="connsiteX91" fmla="*/ 5428827 w 6096000"/>
              <a:gd name="connsiteY91" fmla="*/ 1101051 h 6857994"/>
              <a:gd name="connsiteX92" fmla="*/ 5477011 w 6096000"/>
              <a:gd name="connsiteY92" fmla="*/ 1129779 h 6857994"/>
              <a:gd name="connsiteX93" fmla="*/ 5457066 w 6096000"/>
              <a:gd name="connsiteY93" fmla="*/ 1077332 h 6857994"/>
              <a:gd name="connsiteX94" fmla="*/ 5414684 w 6096000"/>
              <a:gd name="connsiteY94" fmla="*/ 1055430 h 6857994"/>
              <a:gd name="connsiteX95" fmla="*/ 5298348 w 6096000"/>
              <a:gd name="connsiteY95" fmla="*/ 1055429 h 6857994"/>
              <a:gd name="connsiteX96" fmla="*/ 5255989 w 6096000"/>
              <a:gd name="connsiteY96" fmla="*/ 1077330 h 6857994"/>
              <a:gd name="connsiteX97" fmla="*/ 5235998 w 6096000"/>
              <a:gd name="connsiteY97" fmla="*/ 1129708 h 6857994"/>
              <a:gd name="connsiteX98" fmla="*/ 5284252 w 6096000"/>
              <a:gd name="connsiteY98" fmla="*/ 1100980 h 6857994"/>
              <a:gd name="connsiteX99" fmla="*/ 5298348 w 6096000"/>
              <a:gd name="connsiteY99" fmla="*/ 1055429 h 6857994"/>
              <a:gd name="connsiteX100" fmla="*/ 5278193 w 6096000"/>
              <a:gd name="connsiteY100" fmla="*/ 1031383 h 6857994"/>
              <a:gd name="connsiteX101" fmla="*/ 5230779 w 6096000"/>
              <a:gd name="connsiteY101" fmla="*/ 1037464 h 6857994"/>
              <a:gd name="connsiteX102" fmla="*/ 5194198 w 6096000"/>
              <a:gd name="connsiteY102" fmla="*/ 1079870 h 6857994"/>
              <a:gd name="connsiteX103" fmla="*/ 5249302 w 6096000"/>
              <a:gd name="connsiteY103" fmla="*/ 1069315 h 6857994"/>
              <a:gd name="connsiteX104" fmla="*/ 5278193 w 6096000"/>
              <a:gd name="connsiteY104" fmla="*/ 1031383 h 6857994"/>
              <a:gd name="connsiteX105" fmla="*/ 5434861 w 6096000"/>
              <a:gd name="connsiteY105" fmla="*/ 1031360 h 6857994"/>
              <a:gd name="connsiteX106" fmla="*/ 5463706 w 6096000"/>
              <a:gd name="connsiteY106" fmla="*/ 1069316 h 6857994"/>
              <a:gd name="connsiteX107" fmla="*/ 5518833 w 6096000"/>
              <a:gd name="connsiteY107" fmla="*/ 1079871 h 6857994"/>
              <a:gd name="connsiteX108" fmla="*/ 5482299 w 6096000"/>
              <a:gd name="connsiteY108" fmla="*/ 1037465 h 6857994"/>
              <a:gd name="connsiteX109" fmla="*/ 5434861 w 6096000"/>
              <a:gd name="connsiteY109" fmla="*/ 1031360 h 6857994"/>
              <a:gd name="connsiteX110" fmla="*/ 5550544 w 6096000"/>
              <a:gd name="connsiteY110" fmla="*/ 1026073 h 6857994"/>
              <a:gd name="connsiteX111" fmla="*/ 5495720 w 6096000"/>
              <a:gd name="connsiteY111" fmla="*/ 1036931 h 6857994"/>
              <a:gd name="connsiteX112" fmla="*/ 5530786 w 6096000"/>
              <a:gd name="connsiteY112" fmla="*/ 1080571 h 6857994"/>
              <a:gd name="connsiteX113" fmla="*/ 5596748 w 6096000"/>
              <a:gd name="connsiteY113" fmla="*/ 1073744 h 6857994"/>
              <a:gd name="connsiteX114" fmla="*/ 5550544 w 6096000"/>
              <a:gd name="connsiteY114" fmla="*/ 1026073 h 6857994"/>
              <a:gd name="connsiteX115" fmla="*/ 5162441 w 6096000"/>
              <a:gd name="connsiteY115" fmla="*/ 1026072 h 6857994"/>
              <a:gd name="connsiteX116" fmla="*/ 5116424 w 6096000"/>
              <a:gd name="connsiteY116" fmla="*/ 1073628 h 6857994"/>
              <a:gd name="connsiteX117" fmla="*/ 5182409 w 6096000"/>
              <a:gd name="connsiteY117" fmla="*/ 1080455 h 6857994"/>
              <a:gd name="connsiteX118" fmla="*/ 5217358 w 6096000"/>
              <a:gd name="connsiteY118" fmla="*/ 1036813 h 6857994"/>
              <a:gd name="connsiteX119" fmla="*/ 5162441 w 6096000"/>
              <a:gd name="connsiteY119" fmla="*/ 1026072 h 6857994"/>
              <a:gd name="connsiteX120" fmla="*/ 5621468 w 6096000"/>
              <a:gd name="connsiteY120" fmla="*/ 991893 h 6857994"/>
              <a:gd name="connsiteX121" fmla="*/ 5561192 w 6096000"/>
              <a:gd name="connsiteY121" fmla="*/ 1022229 h 6857994"/>
              <a:gd name="connsiteX122" fmla="*/ 5607489 w 6096000"/>
              <a:gd name="connsiteY122" fmla="*/ 1071323 h 6857994"/>
              <a:gd name="connsiteX123" fmla="*/ 5686708 w 6096000"/>
              <a:gd name="connsiteY123" fmla="*/ 1044364 h 6857994"/>
              <a:gd name="connsiteX124" fmla="*/ 5621468 w 6096000"/>
              <a:gd name="connsiteY124" fmla="*/ 991893 h 6857994"/>
              <a:gd name="connsiteX125" fmla="*/ 5091540 w 6096000"/>
              <a:gd name="connsiteY125" fmla="*/ 991893 h 6857994"/>
              <a:gd name="connsiteX126" fmla="*/ 5026301 w 6096000"/>
              <a:gd name="connsiteY126" fmla="*/ 1044364 h 6857994"/>
              <a:gd name="connsiteX127" fmla="*/ 5105520 w 6096000"/>
              <a:gd name="connsiteY127" fmla="*/ 1071323 h 6857994"/>
              <a:gd name="connsiteX128" fmla="*/ 5151840 w 6096000"/>
              <a:gd name="connsiteY128" fmla="*/ 1022183 h 6857994"/>
              <a:gd name="connsiteX129" fmla="*/ 5091540 w 6096000"/>
              <a:gd name="connsiteY129" fmla="*/ 991893 h 6857994"/>
              <a:gd name="connsiteX130" fmla="*/ 5492108 w 6096000"/>
              <a:gd name="connsiteY130" fmla="*/ 991284 h 6857994"/>
              <a:gd name="connsiteX131" fmla="*/ 5445695 w 6096000"/>
              <a:gd name="connsiteY131" fmla="*/ 1001885 h 6857994"/>
              <a:gd name="connsiteX132" fmla="*/ 5485677 w 6096000"/>
              <a:gd name="connsiteY132" fmla="*/ 1027655 h 6857994"/>
              <a:gd name="connsiteX133" fmla="*/ 5541037 w 6096000"/>
              <a:gd name="connsiteY133" fmla="*/ 1018708 h 6857994"/>
              <a:gd name="connsiteX134" fmla="*/ 5492108 w 6096000"/>
              <a:gd name="connsiteY134" fmla="*/ 991284 h 6857994"/>
              <a:gd name="connsiteX135" fmla="*/ 5220900 w 6096000"/>
              <a:gd name="connsiteY135" fmla="*/ 991284 h 6857994"/>
              <a:gd name="connsiteX136" fmla="*/ 5171947 w 6096000"/>
              <a:gd name="connsiteY136" fmla="*/ 1018615 h 6857994"/>
              <a:gd name="connsiteX137" fmla="*/ 5227330 w 6096000"/>
              <a:gd name="connsiteY137" fmla="*/ 1027562 h 6857994"/>
              <a:gd name="connsiteX138" fmla="*/ 5267336 w 6096000"/>
              <a:gd name="connsiteY138" fmla="*/ 1001932 h 6857994"/>
              <a:gd name="connsiteX139" fmla="*/ 5220900 w 6096000"/>
              <a:gd name="connsiteY139" fmla="*/ 991284 h 6857994"/>
              <a:gd name="connsiteX140" fmla="*/ 5160507 w 6096000"/>
              <a:gd name="connsiteY140" fmla="*/ 957199 h 6857994"/>
              <a:gd name="connsiteX141" fmla="*/ 5100860 w 6096000"/>
              <a:gd name="connsiteY141" fmla="*/ 986183 h 6857994"/>
              <a:gd name="connsiteX142" fmla="*/ 5160507 w 6096000"/>
              <a:gd name="connsiteY142" fmla="*/ 1015076 h 6857994"/>
              <a:gd name="connsiteX143" fmla="*/ 5208295 w 6096000"/>
              <a:gd name="connsiteY143" fmla="*/ 986183 h 6857994"/>
              <a:gd name="connsiteX144" fmla="*/ 5160507 w 6096000"/>
              <a:gd name="connsiteY144" fmla="*/ 957199 h 6857994"/>
              <a:gd name="connsiteX145" fmla="*/ 5552525 w 6096000"/>
              <a:gd name="connsiteY145" fmla="*/ 957198 h 6857994"/>
              <a:gd name="connsiteX146" fmla="*/ 5504714 w 6096000"/>
              <a:gd name="connsiteY146" fmla="*/ 986183 h 6857994"/>
              <a:gd name="connsiteX147" fmla="*/ 5552525 w 6096000"/>
              <a:gd name="connsiteY147" fmla="*/ 1015075 h 6857994"/>
              <a:gd name="connsiteX148" fmla="*/ 5612219 w 6096000"/>
              <a:gd name="connsiteY148" fmla="*/ 986136 h 6857994"/>
              <a:gd name="connsiteX149" fmla="*/ 5552525 w 6096000"/>
              <a:gd name="connsiteY149" fmla="*/ 957198 h 6857994"/>
              <a:gd name="connsiteX150" fmla="*/ 5227330 w 6096000"/>
              <a:gd name="connsiteY150" fmla="*/ 944522 h 6857994"/>
              <a:gd name="connsiteX151" fmla="*/ 5171970 w 6096000"/>
              <a:gd name="connsiteY151" fmla="*/ 953492 h 6857994"/>
              <a:gd name="connsiteX152" fmla="*/ 5220899 w 6096000"/>
              <a:gd name="connsiteY152" fmla="*/ 980870 h 6857994"/>
              <a:gd name="connsiteX153" fmla="*/ 5267289 w 6096000"/>
              <a:gd name="connsiteY153" fmla="*/ 970268 h 6857994"/>
              <a:gd name="connsiteX154" fmla="*/ 5227330 w 6096000"/>
              <a:gd name="connsiteY154" fmla="*/ 944522 h 6857994"/>
              <a:gd name="connsiteX155" fmla="*/ 5485724 w 6096000"/>
              <a:gd name="connsiteY155" fmla="*/ 944522 h 6857994"/>
              <a:gd name="connsiteX156" fmla="*/ 5445695 w 6096000"/>
              <a:gd name="connsiteY156" fmla="*/ 970361 h 6857994"/>
              <a:gd name="connsiteX157" fmla="*/ 5492155 w 6096000"/>
              <a:gd name="connsiteY157" fmla="*/ 980870 h 6857994"/>
              <a:gd name="connsiteX158" fmla="*/ 5541084 w 6096000"/>
              <a:gd name="connsiteY158" fmla="*/ 953492 h 6857994"/>
              <a:gd name="connsiteX159" fmla="*/ 5485724 w 6096000"/>
              <a:gd name="connsiteY159" fmla="*/ 944522 h 6857994"/>
              <a:gd name="connsiteX160" fmla="*/ 5105520 w 6096000"/>
              <a:gd name="connsiteY160" fmla="*/ 900931 h 6857994"/>
              <a:gd name="connsiteX161" fmla="*/ 5026301 w 6096000"/>
              <a:gd name="connsiteY161" fmla="*/ 927889 h 6857994"/>
              <a:gd name="connsiteX162" fmla="*/ 5091587 w 6096000"/>
              <a:gd name="connsiteY162" fmla="*/ 980360 h 6857994"/>
              <a:gd name="connsiteX163" fmla="*/ 5151886 w 6096000"/>
              <a:gd name="connsiteY163" fmla="*/ 950070 h 6857994"/>
              <a:gd name="connsiteX164" fmla="*/ 5105520 w 6096000"/>
              <a:gd name="connsiteY164" fmla="*/ 900931 h 6857994"/>
              <a:gd name="connsiteX165" fmla="*/ 5607418 w 6096000"/>
              <a:gd name="connsiteY165" fmla="*/ 900908 h 6857994"/>
              <a:gd name="connsiteX166" fmla="*/ 5561052 w 6096000"/>
              <a:gd name="connsiteY166" fmla="*/ 950094 h 6857994"/>
              <a:gd name="connsiteX167" fmla="*/ 5621398 w 6096000"/>
              <a:gd name="connsiteY167" fmla="*/ 980383 h 6857994"/>
              <a:gd name="connsiteX168" fmla="*/ 5686638 w 6096000"/>
              <a:gd name="connsiteY168" fmla="*/ 927889 h 6857994"/>
              <a:gd name="connsiteX169" fmla="*/ 5607418 w 6096000"/>
              <a:gd name="connsiteY169" fmla="*/ 900908 h 6857994"/>
              <a:gd name="connsiteX170" fmla="*/ 5194198 w 6096000"/>
              <a:gd name="connsiteY170" fmla="*/ 892424 h 6857994"/>
              <a:gd name="connsiteX171" fmla="*/ 5230779 w 6096000"/>
              <a:gd name="connsiteY171" fmla="*/ 934806 h 6857994"/>
              <a:gd name="connsiteX172" fmla="*/ 5278147 w 6096000"/>
              <a:gd name="connsiteY172" fmla="*/ 940911 h 6857994"/>
              <a:gd name="connsiteX173" fmla="*/ 5249302 w 6096000"/>
              <a:gd name="connsiteY173" fmla="*/ 902932 h 6857994"/>
              <a:gd name="connsiteX174" fmla="*/ 5194198 w 6096000"/>
              <a:gd name="connsiteY174" fmla="*/ 892424 h 6857994"/>
              <a:gd name="connsiteX175" fmla="*/ 5518833 w 6096000"/>
              <a:gd name="connsiteY175" fmla="*/ 892424 h 6857994"/>
              <a:gd name="connsiteX176" fmla="*/ 5463706 w 6096000"/>
              <a:gd name="connsiteY176" fmla="*/ 902932 h 6857994"/>
              <a:gd name="connsiteX177" fmla="*/ 5434861 w 6096000"/>
              <a:gd name="connsiteY177" fmla="*/ 940911 h 6857994"/>
              <a:gd name="connsiteX178" fmla="*/ 5482299 w 6096000"/>
              <a:gd name="connsiteY178" fmla="*/ 934806 h 6857994"/>
              <a:gd name="connsiteX179" fmla="*/ 5518833 w 6096000"/>
              <a:gd name="connsiteY179" fmla="*/ 892424 h 6857994"/>
              <a:gd name="connsiteX180" fmla="*/ 5182199 w 6096000"/>
              <a:gd name="connsiteY180" fmla="*/ 891844 h 6857994"/>
              <a:gd name="connsiteX181" fmla="*/ 5116121 w 6096000"/>
              <a:gd name="connsiteY181" fmla="*/ 898670 h 6857994"/>
              <a:gd name="connsiteX182" fmla="*/ 5162348 w 6096000"/>
              <a:gd name="connsiteY182" fmla="*/ 946295 h 6857994"/>
              <a:gd name="connsiteX183" fmla="*/ 5217149 w 6096000"/>
              <a:gd name="connsiteY183" fmla="*/ 935461 h 6857994"/>
              <a:gd name="connsiteX184" fmla="*/ 5182199 w 6096000"/>
              <a:gd name="connsiteY184" fmla="*/ 891844 h 6857994"/>
              <a:gd name="connsiteX185" fmla="*/ 5530786 w 6096000"/>
              <a:gd name="connsiteY185" fmla="*/ 891842 h 6857994"/>
              <a:gd name="connsiteX186" fmla="*/ 5495720 w 6096000"/>
              <a:gd name="connsiteY186" fmla="*/ 935460 h 6857994"/>
              <a:gd name="connsiteX187" fmla="*/ 5550544 w 6096000"/>
              <a:gd name="connsiteY187" fmla="*/ 946294 h 6857994"/>
              <a:gd name="connsiteX188" fmla="*/ 5596841 w 6096000"/>
              <a:gd name="connsiteY188" fmla="*/ 898669 h 6857994"/>
              <a:gd name="connsiteX189" fmla="*/ 5530786 w 6096000"/>
              <a:gd name="connsiteY189" fmla="*/ 891842 h 6857994"/>
              <a:gd name="connsiteX190" fmla="*/ 5235998 w 6096000"/>
              <a:gd name="connsiteY190" fmla="*/ 842563 h 6857994"/>
              <a:gd name="connsiteX191" fmla="*/ 5255943 w 6096000"/>
              <a:gd name="connsiteY191" fmla="*/ 895033 h 6857994"/>
              <a:gd name="connsiteX192" fmla="*/ 5298301 w 6096000"/>
              <a:gd name="connsiteY192" fmla="*/ 916842 h 6857994"/>
              <a:gd name="connsiteX193" fmla="*/ 5284205 w 6096000"/>
              <a:gd name="connsiteY193" fmla="*/ 871291 h 6857994"/>
              <a:gd name="connsiteX194" fmla="*/ 5235998 w 6096000"/>
              <a:gd name="connsiteY194" fmla="*/ 842563 h 6857994"/>
              <a:gd name="connsiteX195" fmla="*/ 5477011 w 6096000"/>
              <a:gd name="connsiteY195" fmla="*/ 842561 h 6857994"/>
              <a:gd name="connsiteX196" fmla="*/ 5428827 w 6096000"/>
              <a:gd name="connsiteY196" fmla="*/ 871290 h 6857994"/>
              <a:gd name="connsiteX197" fmla="*/ 5414684 w 6096000"/>
              <a:gd name="connsiteY197" fmla="*/ 916841 h 6857994"/>
              <a:gd name="connsiteX198" fmla="*/ 5457066 w 6096000"/>
              <a:gd name="connsiteY198" fmla="*/ 895032 h 6857994"/>
              <a:gd name="connsiteX199" fmla="*/ 5477011 w 6096000"/>
              <a:gd name="connsiteY199" fmla="*/ 842561 h 6857994"/>
              <a:gd name="connsiteX200" fmla="*/ 5160623 w 6096000"/>
              <a:gd name="connsiteY200" fmla="*/ 821781 h 6857994"/>
              <a:gd name="connsiteX201" fmla="*/ 5187744 w 6096000"/>
              <a:gd name="connsiteY201" fmla="*/ 882337 h 6857994"/>
              <a:gd name="connsiteX202" fmla="*/ 5242988 w 6096000"/>
              <a:gd name="connsiteY202" fmla="*/ 890935 h 6857994"/>
              <a:gd name="connsiteX203" fmla="*/ 5224977 w 6096000"/>
              <a:gd name="connsiteY203" fmla="*/ 837951 h 6857994"/>
              <a:gd name="connsiteX204" fmla="*/ 5160623 w 6096000"/>
              <a:gd name="connsiteY204" fmla="*/ 821781 h 6857994"/>
              <a:gd name="connsiteX205" fmla="*/ 5552432 w 6096000"/>
              <a:gd name="connsiteY205" fmla="*/ 821756 h 6857994"/>
              <a:gd name="connsiteX206" fmla="*/ 5488055 w 6096000"/>
              <a:gd name="connsiteY206" fmla="*/ 837996 h 6857994"/>
              <a:gd name="connsiteX207" fmla="*/ 5470044 w 6096000"/>
              <a:gd name="connsiteY207" fmla="*/ 890933 h 6857994"/>
              <a:gd name="connsiteX208" fmla="*/ 5525264 w 6096000"/>
              <a:gd name="connsiteY208" fmla="*/ 882335 h 6857994"/>
              <a:gd name="connsiteX209" fmla="*/ 5552432 w 6096000"/>
              <a:gd name="connsiteY209" fmla="*/ 821756 h 6857994"/>
              <a:gd name="connsiteX210" fmla="*/ 5066143 w 6096000"/>
              <a:gd name="connsiteY210" fmla="*/ 818450 h 6857994"/>
              <a:gd name="connsiteX211" fmla="*/ 5109480 w 6096000"/>
              <a:gd name="connsiteY211" fmla="*/ 890120 h 6857994"/>
              <a:gd name="connsiteX212" fmla="*/ 5176444 w 6096000"/>
              <a:gd name="connsiteY212" fmla="*/ 882151 h 6857994"/>
              <a:gd name="connsiteX213" fmla="*/ 5149789 w 6096000"/>
              <a:gd name="connsiteY213" fmla="*/ 820291 h 6857994"/>
              <a:gd name="connsiteX214" fmla="*/ 5066143 w 6096000"/>
              <a:gd name="connsiteY214" fmla="*/ 818450 h 6857994"/>
              <a:gd name="connsiteX215" fmla="*/ 5646935 w 6096000"/>
              <a:gd name="connsiteY215" fmla="*/ 818450 h 6857994"/>
              <a:gd name="connsiteX216" fmla="*/ 5563219 w 6096000"/>
              <a:gd name="connsiteY216" fmla="*/ 820267 h 6857994"/>
              <a:gd name="connsiteX217" fmla="*/ 5536564 w 6096000"/>
              <a:gd name="connsiteY217" fmla="*/ 882151 h 6857994"/>
              <a:gd name="connsiteX218" fmla="*/ 5603481 w 6096000"/>
              <a:gd name="connsiteY218" fmla="*/ 890120 h 6857994"/>
              <a:gd name="connsiteX219" fmla="*/ 5646935 w 6096000"/>
              <a:gd name="connsiteY219" fmla="*/ 818450 h 6857994"/>
              <a:gd name="connsiteX220" fmla="*/ 5292430 w 6096000"/>
              <a:gd name="connsiteY220" fmla="*/ 810013 h 6857994"/>
              <a:gd name="connsiteX221" fmla="*/ 5290822 w 6096000"/>
              <a:gd name="connsiteY221" fmla="*/ 835363 h 6857994"/>
              <a:gd name="connsiteX222" fmla="*/ 5293222 w 6096000"/>
              <a:gd name="connsiteY222" fmla="*/ 866119 h 6857994"/>
              <a:gd name="connsiteX223" fmla="*/ 5325562 w 6096000"/>
              <a:gd name="connsiteY223" fmla="*/ 901068 h 6857994"/>
              <a:gd name="connsiteX224" fmla="*/ 5324886 w 6096000"/>
              <a:gd name="connsiteY224" fmla="*/ 886669 h 6857994"/>
              <a:gd name="connsiteX225" fmla="*/ 5327869 w 6096000"/>
              <a:gd name="connsiteY225" fmla="*/ 853514 h 6857994"/>
              <a:gd name="connsiteX226" fmla="*/ 5292430 w 6096000"/>
              <a:gd name="connsiteY226" fmla="*/ 810013 h 6857994"/>
              <a:gd name="connsiteX227" fmla="*/ 5420601 w 6096000"/>
              <a:gd name="connsiteY227" fmla="*/ 810011 h 6857994"/>
              <a:gd name="connsiteX228" fmla="*/ 5385116 w 6096000"/>
              <a:gd name="connsiteY228" fmla="*/ 853512 h 6857994"/>
              <a:gd name="connsiteX229" fmla="*/ 5388238 w 6096000"/>
              <a:gd name="connsiteY229" fmla="*/ 886667 h 6857994"/>
              <a:gd name="connsiteX230" fmla="*/ 5387539 w 6096000"/>
              <a:gd name="connsiteY230" fmla="*/ 901066 h 6857994"/>
              <a:gd name="connsiteX231" fmla="*/ 5419902 w 6096000"/>
              <a:gd name="connsiteY231" fmla="*/ 866117 h 6857994"/>
              <a:gd name="connsiteX232" fmla="*/ 5422232 w 6096000"/>
              <a:gd name="connsiteY232" fmla="*/ 835361 h 6857994"/>
              <a:gd name="connsiteX233" fmla="*/ 5420601 w 6096000"/>
              <a:gd name="connsiteY233" fmla="*/ 810011 h 6857994"/>
              <a:gd name="connsiteX234" fmla="*/ 5356504 w 6096000"/>
              <a:gd name="connsiteY234" fmla="*/ 798711 h 6857994"/>
              <a:gd name="connsiteX235" fmla="*/ 5338051 w 6096000"/>
              <a:gd name="connsiteY235" fmla="*/ 851671 h 6857994"/>
              <a:gd name="connsiteX236" fmla="*/ 5356504 w 6096000"/>
              <a:gd name="connsiteY236" fmla="*/ 895591 h 6857994"/>
              <a:gd name="connsiteX237" fmla="*/ 5374981 w 6096000"/>
              <a:gd name="connsiteY237" fmla="*/ 851718 h 6857994"/>
              <a:gd name="connsiteX238" fmla="*/ 5356504 w 6096000"/>
              <a:gd name="connsiteY238" fmla="*/ 798711 h 6857994"/>
              <a:gd name="connsiteX239" fmla="*/ 5228635 w 6096000"/>
              <a:gd name="connsiteY239" fmla="*/ 764673 h 6857994"/>
              <a:gd name="connsiteX240" fmla="*/ 5228379 w 6096000"/>
              <a:gd name="connsiteY240" fmla="*/ 775065 h 6857994"/>
              <a:gd name="connsiteX241" fmla="*/ 5233458 w 6096000"/>
              <a:gd name="connsiteY241" fmla="*/ 830891 h 6857994"/>
              <a:gd name="connsiteX242" fmla="*/ 5282388 w 6096000"/>
              <a:gd name="connsiteY242" fmla="*/ 857802 h 6857994"/>
              <a:gd name="connsiteX243" fmla="*/ 5281083 w 6096000"/>
              <a:gd name="connsiteY243" fmla="*/ 835411 h 6857994"/>
              <a:gd name="connsiteX244" fmla="*/ 5283576 w 6096000"/>
              <a:gd name="connsiteY244" fmla="*/ 801953 h 6857994"/>
              <a:gd name="connsiteX245" fmla="*/ 5228635 w 6096000"/>
              <a:gd name="connsiteY245" fmla="*/ 764673 h 6857994"/>
              <a:gd name="connsiteX246" fmla="*/ 5484373 w 6096000"/>
              <a:gd name="connsiteY246" fmla="*/ 764672 h 6857994"/>
              <a:gd name="connsiteX247" fmla="*/ 5429386 w 6096000"/>
              <a:gd name="connsiteY247" fmla="*/ 801882 h 6857994"/>
              <a:gd name="connsiteX248" fmla="*/ 5431996 w 6096000"/>
              <a:gd name="connsiteY248" fmla="*/ 835457 h 6857994"/>
              <a:gd name="connsiteX249" fmla="*/ 5430691 w 6096000"/>
              <a:gd name="connsiteY249" fmla="*/ 857871 h 6857994"/>
              <a:gd name="connsiteX250" fmla="*/ 5479620 w 6096000"/>
              <a:gd name="connsiteY250" fmla="*/ 830936 h 6857994"/>
              <a:gd name="connsiteX251" fmla="*/ 5484630 w 6096000"/>
              <a:gd name="connsiteY251" fmla="*/ 775017 h 6857994"/>
              <a:gd name="connsiteX252" fmla="*/ 5484373 w 6096000"/>
              <a:gd name="connsiteY252" fmla="*/ 764672 h 6857994"/>
              <a:gd name="connsiteX253" fmla="*/ 5312118 w 6096000"/>
              <a:gd name="connsiteY253" fmla="*/ 734314 h 6857994"/>
              <a:gd name="connsiteX254" fmla="*/ 5293968 w 6096000"/>
              <a:gd name="connsiteY254" fmla="*/ 798225 h 6857994"/>
              <a:gd name="connsiteX255" fmla="*/ 5330782 w 6096000"/>
              <a:gd name="connsiteY255" fmla="*/ 840165 h 6857994"/>
              <a:gd name="connsiteX256" fmla="*/ 5351006 w 6096000"/>
              <a:gd name="connsiteY256" fmla="*/ 788067 h 6857994"/>
              <a:gd name="connsiteX257" fmla="*/ 5312118 w 6096000"/>
              <a:gd name="connsiteY257" fmla="*/ 734314 h 6857994"/>
              <a:gd name="connsiteX258" fmla="*/ 5400913 w 6096000"/>
              <a:gd name="connsiteY258" fmla="*/ 734313 h 6857994"/>
              <a:gd name="connsiteX259" fmla="*/ 5362049 w 6096000"/>
              <a:gd name="connsiteY259" fmla="*/ 788066 h 6857994"/>
              <a:gd name="connsiteX260" fmla="*/ 5382250 w 6096000"/>
              <a:gd name="connsiteY260" fmla="*/ 840164 h 6857994"/>
              <a:gd name="connsiteX261" fmla="*/ 5419087 w 6096000"/>
              <a:gd name="connsiteY261" fmla="*/ 798108 h 6857994"/>
              <a:gd name="connsiteX262" fmla="*/ 5400913 w 6096000"/>
              <a:gd name="connsiteY262" fmla="*/ 734313 h 6857994"/>
              <a:gd name="connsiteX263" fmla="*/ 5140982 w 6096000"/>
              <a:gd name="connsiteY263" fmla="*/ 729260 h 6857994"/>
              <a:gd name="connsiteX264" fmla="*/ 5157268 w 6096000"/>
              <a:gd name="connsiteY264" fmla="*/ 811392 h 6857994"/>
              <a:gd name="connsiteX265" fmla="*/ 5222904 w 6096000"/>
              <a:gd name="connsiteY265" fmla="*/ 826909 h 6857994"/>
              <a:gd name="connsiteX266" fmla="*/ 5218663 w 6096000"/>
              <a:gd name="connsiteY266" fmla="*/ 775021 h 6857994"/>
              <a:gd name="connsiteX267" fmla="*/ 5219059 w 6096000"/>
              <a:gd name="connsiteY267" fmla="*/ 759550 h 6857994"/>
              <a:gd name="connsiteX268" fmla="*/ 5140982 w 6096000"/>
              <a:gd name="connsiteY268" fmla="*/ 729260 h 6857994"/>
              <a:gd name="connsiteX269" fmla="*/ 5572073 w 6096000"/>
              <a:gd name="connsiteY269" fmla="*/ 729259 h 6857994"/>
              <a:gd name="connsiteX270" fmla="*/ 5493972 w 6096000"/>
              <a:gd name="connsiteY270" fmla="*/ 759595 h 6857994"/>
              <a:gd name="connsiteX271" fmla="*/ 5494368 w 6096000"/>
              <a:gd name="connsiteY271" fmla="*/ 775020 h 6857994"/>
              <a:gd name="connsiteX272" fmla="*/ 5490151 w 6096000"/>
              <a:gd name="connsiteY272" fmla="*/ 826955 h 6857994"/>
              <a:gd name="connsiteX273" fmla="*/ 5555763 w 6096000"/>
              <a:gd name="connsiteY273" fmla="*/ 811437 h 6857994"/>
              <a:gd name="connsiteX274" fmla="*/ 5572073 w 6096000"/>
              <a:gd name="connsiteY274" fmla="*/ 729259 h 6857994"/>
              <a:gd name="connsiteX275" fmla="*/ 5241846 w 6096000"/>
              <a:gd name="connsiteY275" fmla="*/ 671034 h 6857994"/>
              <a:gd name="connsiteX276" fmla="*/ 5229008 w 6096000"/>
              <a:gd name="connsiteY276" fmla="*/ 753818 h 6857994"/>
              <a:gd name="connsiteX277" fmla="*/ 5285370 w 6096000"/>
              <a:gd name="connsiteY277" fmla="*/ 790911 h 6857994"/>
              <a:gd name="connsiteX278" fmla="*/ 5304755 w 6096000"/>
              <a:gd name="connsiteY278" fmla="*/ 726254 h 6857994"/>
              <a:gd name="connsiteX279" fmla="*/ 5241846 w 6096000"/>
              <a:gd name="connsiteY279" fmla="*/ 671034 h 6857994"/>
              <a:gd name="connsiteX280" fmla="*/ 5471325 w 6096000"/>
              <a:gd name="connsiteY280" fmla="*/ 671008 h 6857994"/>
              <a:gd name="connsiteX281" fmla="*/ 5408299 w 6096000"/>
              <a:gd name="connsiteY281" fmla="*/ 726252 h 6857994"/>
              <a:gd name="connsiteX282" fmla="*/ 5427708 w 6096000"/>
              <a:gd name="connsiteY282" fmla="*/ 790908 h 6857994"/>
              <a:gd name="connsiteX283" fmla="*/ 5484093 w 6096000"/>
              <a:gd name="connsiteY283" fmla="*/ 753815 h 6857994"/>
              <a:gd name="connsiteX284" fmla="*/ 5471325 w 6096000"/>
              <a:gd name="connsiteY284" fmla="*/ 671008 h 6857994"/>
              <a:gd name="connsiteX285" fmla="*/ 5356504 w 6096000"/>
              <a:gd name="connsiteY285" fmla="*/ 650809 h 6857994"/>
              <a:gd name="connsiteX286" fmla="*/ 5316126 w 6096000"/>
              <a:gd name="connsiteY286" fmla="*/ 724203 h 6857994"/>
              <a:gd name="connsiteX287" fmla="*/ 5356435 w 6096000"/>
              <a:gd name="connsiteY287" fmla="*/ 778352 h 6857994"/>
              <a:gd name="connsiteX288" fmla="*/ 5396766 w 6096000"/>
              <a:gd name="connsiteY288" fmla="*/ 724203 h 6857994"/>
              <a:gd name="connsiteX289" fmla="*/ 5356504 w 6096000"/>
              <a:gd name="connsiteY289" fmla="*/ 650809 h 6857994"/>
              <a:gd name="connsiteX290" fmla="*/ 5631650 w 6096000"/>
              <a:gd name="connsiteY290" fmla="*/ 502902 h 6857994"/>
              <a:gd name="connsiteX291" fmla="*/ 5663920 w 6096000"/>
              <a:gd name="connsiteY291" fmla="*/ 545890 h 6857994"/>
              <a:gd name="connsiteX292" fmla="*/ 5654344 w 6096000"/>
              <a:gd name="connsiteY292" fmla="*/ 582564 h 6857994"/>
              <a:gd name="connsiteX293" fmla="*/ 5629577 w 6096000"/>
              <a:gd name="connsiteY293" fmla="*/ 594028 h 6857994"/>
              <a:gd name="connsiteX294" fmla="*/ 5596701 w 6096000"/>
              <a:gd name="connsiteY294" fmla="*/ 550574 h 6857994"/>
              <a:gd name="connsiteX295" fmla="*/ 5631650 w 6096000"/>
              <a:gd name="connsiteY295" fmla="*/ 502902 h 6857994"/>
              <a:gd name="connsiteX296" fmla="*/ 5502849 w 6096000"/>
              <a:gd name="connsiteY296" fmla="*/ 500457 h 6857994"/>
              <a:gd name="connsiteX297" fmla="*/ 5535725 w 6096000"/>
              <a:gd name="connsiteY297" fmla="*/ 545891 h 6857994"/>
              <a:gd name="connsiteX298" fmla="*/ 5501847 w 6096000"/>
              <a:gd name="connsiteY298" fmla="*/ 591442 h 6857994"/>
              <a:gd name="connsiteX299" fmla="*/ 5469228 w 6096000"/>
              <a:gd name="connsiteY299" fmla="*/ 547056 h 6857994"/>
              <a:gd name="connsiteX300" fmla="*/ 5502849 w 6096000"/>
              <a:gd name="connsiteY300" fmla="*/ 500457 h 6857994"/>
              <a:gd name="connsiteX301" fmla="*/ 5637731 w 6096000"/>
              <a:gd name="connsiteY301" fmla="*/ 486546 h 6857994"/>
              <a:gd name="connsiteX302" fmla="*/ 5597796 w 6096000"/>
              <a:gd name="connsiteY302" fmla="*/ 507795 h 6857994"/>
              <a:gd name="connsiteX303" fmla="*/ 5597143 w 6096000"/>
              <a:gd name="connsiteY303" fmla="*/ 488433 h 6857994"/>
              <a:gd name="connsiteX304" fmla="*/ 5574962 w 6096000"/>
              <a:gd name="connsiteY304" fmla="*/ 488433 h 6857994"/>
              <a:gd name="connsiteX305" fmla="*/ 5575661 w 6096000"/>
              <a:gd name="connsiteY305" fmla="*/ 507562 h 6857994"/>
              <a:gd name="connsiteX306" fmla="*/ 5575731 w 6096000"/>
              <a:gd name="connsiteY306" fmla="*/ 650763 h 6857994"/>
              <a:gd name="connsiteX307" fmla="*/ 5597470 w 6096000"/>
              <a:gd name="connsiteY307" fmla="*/ 650763 h 6857994"/>
              <a:gd name="connsiteX308" fmla="*/ 5597470 w 6096000"/>
              <a:gd name="connsiteY308" fmla="*/ 592700 h 6857994"/>
              <a:gd name="connsiteX309" fmla="*/ 5633421 w 6096000"/>
              <a:gd name="connsiteY309" fmla="*/ 610198 h 6857994"/>
              <a:gd name="connsiteX310" fmla="*/ 5687010 w 6096000"/>
              <a:gd name="connsiteY310" fmla="*/ 547288 h 6857994"/>
              <a:gd name="connsiteX311" fmla="*/ 5637731 w 6096000"/>
              <a:gd name="connsiteY311" fmla="*/ 486546 h 6857994"/>
              <a:gd name="connsiteX312" fmla="*/ 5447652 w 6096000"/>
              <a:gd name="connsiteY312" fmla="*/ 443582 h 6857994"/>
              <a:gd name="connsiteX313" fmla="*/ 5447652 w 6096000"/>
              <a:gd name="connsiteY313" fmla="*/ 584685 h 6857994"/>
              <a:gd name="connsiteX314" fmla="*/ 5447163 w 6096000"/>
              <a:gd name="connsiteY314" fmla="*/ 605655 h 6857994"/>
              <a:gd name="connsiteX315" fmla="*/ 5468412 w 6096000"/>
              <a:gd name="connsiteY315" fmla="*/ 605655 h 6857994"/>
              <a:gd name="connsiteX316" fmla="*/ 5468995 w 6096000"/>
              <a:gd name="connsiteY316" fmla="*/ 588040 h 6857994"/>
              <a:gd name="connsiteX317" fmla="*/ 5480458 w 6096000"/>
              <a:gd name="connsiteY317" fmla="*/ 599947 h 6857994"/>
              <a:gd name="connsiteX318" fmla="*/ 5506601 w 6096000"/>
              <a:gd name="connsiteY318" fmla="*/ 607426 h 6857994"/>
              <a:gd name="connsiteX319" fmla="*/ 5547748 w 6096000"/>
              <a:gd name="connsiteY319" fmla="*/ 587341 h 6857994"/>
              <a:gd name="connsiteX320" fmla="*/ 5558955 w 6096000"/>
              <a:gd name="connsiteY320" fmla="*/ 544563 h 6857994"/>
              <a:gd name="connsiteX321" fmla="*/ 5545162 w 6096000"/>
              <a:gd name="connsiteY321" fmla="*/ 500433 h 6857994"/>
              <a:gd name="connsiteX322" fmla="*/ 5508022 w 6096000"/>
              <a:gd name="connsiteY322" fmla="*/ 485475 h 6857994"/>
              <a:gd name="connsiteX323" fmla="*/ 5469717 w 6096000"/>
              <a:gd name="connsiteY323" fmla="*/ 505559 h 6857994"/>
              <a:gd name="connsiteX324" fmla="*/ 5469624 w 6096000"/>
              <a:gd name="connsiteY324" fmla="*/ 443582 h 6857994"/>
              <a:gd name="connsiteX325" fmla="*/ 0 w 6096000"/>
              <a:gd name="connsiteY325" fmla="*/ 0 h 6857994"/>
              <a:gd name="connsiteX326" fmla="*/ 6096000 w 6096000"/>
              <a:gd name="connsiteY326" fmla="*/ 0 h 6857994"/>
              <a:gd name="connsiteX327" fmla="*/ 6096000 w 6096000"/>
              <a:gd name="connsiteY327" fmla="*/ 6857994 h 6857994"/>
              <a:gd name="connsiteX328" fmla="*/ 0 w 6096000"/>
              <a:gd name="connsiteY328"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6096000" h="6857994">
                <a:moveTo>
                  <a:pt x="5356504" y="1193834"/>
                </a:moveTo>
                <a:cubicBezTo>
                  <a:pt x="5344961" y="1213265"/>
                  <a:pt x="5331419" y="1231434"/>
                  <a:pt x="5316102" y="1248052"/>
                </a:cubicBezTo>
                <a:cubicBezTo>
                  <a:pt x="5327363" y="1273656"/>
                  <a:pt x="5340851" y="1298223"/>
                  <a:pt x="5356411" y="1321469"/>
                </a:cubicBezTo>
                <a:cubicBezTo>
                  <a:pt x="5372007" y="1298239"/>
                  <a:pt x="5385512" y="1273670"/>
                  <a:pt x="5396766" y="1248052"/>
                </a:cubicBezTo>
                <a:cubicBezTo>
                  <a:pt x="5381516" y="1231412"/>
                  <a:pt x="5368025" y="1213244"/>
                  <a:pt x="5356504" y="1193834"/>
                </a:cubicBezTo>
                <a:close/>
                <a:moveTo>
                  <a:pt x="5427592" y="1181415"/>
                </a:moveTo>
                <a:cubicBezTo>
                  <a:pt x="5423456" y="1203566"/>
                  <a:pt x="5417030" y="1225225"/>
                  <a:pt x="5408416" y="1246047"/>
                </a:cubicBezTo>
                <a:cubicBezTo>
                  <a:pt x="5427755" y="1266239"/>
                  <a:pt x="5448804" y="1284723"/>
                  <a:pt x="5471325" y="1301291"/>
                </a:cubicBezTo>
                <a:cubicBezTo>
                  <a:pt x="5477980" y="1274117"/>
                  <a:pt x="5482213" y="1246406"/>
                  <a:pt x="5483977" y="1218485"/>
                </a:cubicBezTo>
                <a:cubicBezTo>
                  <a:pt x="5463953" y="1208107"/>
                  <a:pt x="5445057" y="1195686"/>
                  <a:pt x="5427592" y="1181415"/>
                </a:cubicBezTo>
                <a:close/>
                <a:moveTo>
                  <a:pt x="5285440" y="1181413"/>
                </a:moveTo>
                <a:cubicBezTo>
                  <a:pt x="5267956" y="1195682"/>
                  <a:pt x="5249046" y="1208103"/>
                  <a:pt x="5229008" y="1218483"/>
                </a:cubicBezTo>
                <a:cubicBezTo>
                  <a:pt x="5230861" y="1246405"/>
                  <a:pt x="5235188" y="1274109"/>
                  <a:pt x="5241939" y="1301267"/>
                </a:cubicBezTo>
                <a:cubicBezTo>
                  <a:pt x="5264482" y="1284733"/>
                  <a:pt x="5285531" y="1266254"/>
                  <a:pt x="5304849" y="1246046"/>
                </a:cubicBezTo>
                <a:cubicBezTo>
                  <a:pt x="5296162" y="1225230"/>
                  <a:pt x="5289657" y="1203571"/>
                  <a:pt x="5285440" y="1181413"/>
                </a:cubicBezTo>
                <a:close/>
                <a:moveTo>
                  <a:pt x="5490151" y="1145346"/>
                </a:moveTo>
                <a:cubicBezTo>
                  <a:pt x="5492980" y="1162513"/>
                  <a:pt x="5494392" y="1179883"/>
                  <a:pt x="5494368" y="1197282"/>
                </a:cubicBezTo>
                <a:cubicBezTo>
                  <a:pt x="5494368" y="1202338"/>
                  <a:pt x="5494205" y="1207511"/>
                  <a:pt x="5493995" y="1212707"/>
                </a:cubicBezTo>
                <a:cubicBezTo>
                  <a:pt x="5519068" y="1225106"/>
                  <a:pt x="5545197" y="1235244"/>
                  <a:pt x="5572073" y="1242995"/>
                </a:cubicBezTo>
                <a:cubicBezTo>
                  <a:pt x="5569072" y="1215183"/>
                  <a:pt x="5563613" y="1187692"/>
                  <a:pt x="5555763" y="1160840"/>
                </a:cubicBezTo>
                <a:cubicBezTo>
                  <a:pt x="5533414" y="1157963"/>
                  <a:pt x="5511426" y="1152772"/>
                  <a:pt x="5490151" y="1145346"/>
                </a:cubicBezTo>
                <a:close/>
                <a:moveTo>
                  <a:pt x="5222904" y="1145345"/>
                </a:moveTo>
                <a:cubicBezTo>
                  <a:pt x="5201627" y="1152761"/>
                  <a:pt x="5179639" y="1157955"/>
                  <a:pt x="5157292" y="1160840"/>
                </a:cubicBezTo>
                <a:cubicBezTo>
                  <a:pt x="5149450" y="1187693"/>
                  <a:pt x="5143993" y="1215185"/>
                  <a:pt x="5140982" y="1242994"/>
                </a:cubicBezTo>
                <a:cubicBezTo>
                  <a:pt x="5167852" y="1235226"/>
                  <a:pt x="5193980" y="1225091"/>
                  <a:pt x="5219059" y="1212706"/>
                </a:cubicBezTo>
                <a:cubicBezTo>
                  <a:pt x="5218850" y="1207510"/>
                  <a:pt x="5218663" y="1202337"/>
                  <a:pt x="5218663" y="1197281"/>
                </a:cubicBezTo>
                <a:cubicBezTo>
                  <a:pt x="5218636" y="1179880"/>
                  <a:pt x="5220055" y="1162510"/>
                  <a:pt x="5222904" y="1145345"/>
                </a:cubicBezTo>
                <a:close/>
                <a:moveTo>
                  <a:pt x="5382250" y="1132134"/>
                </a:moveTo>
                <a:cubicBezTo>
                  <a:pt x="5377669" y="1150224"/>
                  <a:pt x="5370887" y="1167680"/>
                  <a:pt x="5362049" y="1184116"/>
                </a:cubicBezTo>
                <a:cubicBezTo>
                  <a:pt x="5373037" y="1203396"/>
                  <a:pt x="5386076" y="1221433"/>
                  <a:pt x="5400936" y="1237914"/>
                </a:cubicBezTo>
                <a:cubicBezTo>
                  <a:pt x="5409245" y="1217341"/>
                  <a:pt x="5415328" y="1195940"/>
                  <a:pt x="5419087" y="1174074"/>
                </a:cubicBezTo>
                <a:cubicBezTo>
                  <a:pt x="5405133" y="1161657"/>
                  <a:pt x="5392760" y="1147572"/>
                  <a:pt x="5382250" y="1132134"/>
                </a:cubicBezTo>
                <a:close/>
                <a:moveTo>
                  <a:pt x="5330782" y="1132132"/>
                </a:moveTo>
                <a:cubicBezTo>
                  <a:pt x="5320297" y="1147640"/>
                  <a:pt x="5307932" y="1161791"/>
                  <a:pt x="5293968" y="1174258"/>
                </a:cubicBezTo>
                <a:cubicBezTo>
                  <a:pt x="5297698" y="1196133"/>
                  <a:pt x="5303784" y="1217535"/>
                  <a:pt x="5312118" y="1238100"/>
                </a:cubicBezTo>
                <a:cubicBezTo>
                  <a:pt x="5326981" y="1221578"/>
                  <a:pt x="5340020" y="1203501"/>
                  <a:pt x="5351006" y="1184184"/>
                </a:cubicBezTo>
                <a:cubicBezTo>
                  <a:pt x="5342147" y="1167733"/>
                  <a:pt x="5335353" y="1150250"/>
                  <a:pt x="5330782" y="1132132"/>
                </a:cubicBezTo>
                <a:close/>
                <a:moveTo>
                  <a:pt x="5430644" y="1114473"/>
                </a:moveTo>
                <a:cubicBezTo>
                  <a:pt x="5431457" y="1121917"/>
                  <a:pt x="5431893" y="1129399"/>
                  <a:pt x="5431949" y="1136887"/>
                </a:cubicBezTo>
                <a:cubicBezTo>
                  <a:pt x="5431893" y="1148101"/>
                  <a:pt x="5431036" y="1159299"/>
                  <a:pt x="5429386" y="1170392"/>
                </a:cubicBezTo>
                <a:cubicBezTo>
                  <a:pt x="5446304" y="1184782"/>
                  <a:pt x="5464741" y="1197285"/>
                  <a:pt x="5484373" y="1207672"/>
                </a:cubicBezTo>
                <a:cubicBezTo>
                  <a:pt x="5484443" y="1204247"/>
                  <a:pt x="5484583" y="1200752"/>
                  <a:pt x="5484583" y="1197373"/>
                </a:cubicBezTo>
                <a:cubicBezTo>
                  <a:pt x="5484679" y="1178617"/>
                  <a:pt x="5483001" y="1159892"/>
                  <a:pt x="5479574" y="1141454"/>
                </a:cubicBezTo>
                <a:cubicBezTo>
                  <a:pt x="5462215" y="1134508"/>
                  <a:pt x="5445782" y="1125447"/>
                  <a:pt x="5430644" y="1114473"/>
                </a:cubicBezTo>
                <a:close/>
                <a:moveTo>
                  <a:pt x="5282388" y="1114471"/>
                </a:moveTo>
                <a:cubicBezTo>
                  <a:pt x="5267245" y="1125466"/>
                  <a:pt x="5250803" y="1134553"/>
                  <a:pt x="5233435" y="1141522"/>
                </a:cubicBezTo>
                <a:cubicBezTo>
                  <a:pt x="5230000" y="1159915"/>
                  <a:pt x="5228307" y="1178592"/>
                  <a:pt x="5228379" y="1197303"/>
                </a:cubicBezTo>
                <a:cubicBezTo>
                  <a:pt x="5228379" y="1200657"/>
                  <a:pt x="5228636" y="1204223"/>
                  <a:pt x="5228636" y="1207647"/>
                </a:cubicBezTo>
                <a:cubicBezTo>
                  <a:pt x="5248249" y="1197253"/>
                  <a:pt x="5266672" y="1184752"/>
                  <a:pt x="5283576" y="1170367"/>
                </a:cubicBezTo>
                <a:cubicBezTo>
                  <a:pt x="5281962" y="1159286"/>
                  <a:pt x="5281130" y="1148107"/>
                  <a:pt x="5281083" y="1136909"/>
                </a:cubicBezTo>
                <a:cubicBezTo>
                  <a:pt x="5281130" y="1129411"/>
                  <a:pt x="5281565" y="1121922"/>
                  <a:pt x="5282388" y="1114471"/>
                </a:cubicBezTo>
                <a:close/>
                <a:moveTo>
                  <a:pt x="5603481" y="1082157"/>
                </a:moveTo>
                <a:cubicBezTo>
                  <a:pt x="5581516" y="1087150"/>
                  <a:pt x="5559088" y="1089813"/>
                  <a:pt x="5536564" y="1090102"/>
                </a:cubicBezTo>
                <a:cubicBezTo>
                  <a:pt x="5547501" y="1109772"/>
                  <a:pt x="5556378" y="1130518"/>
                  <a:pt x="5563056" y="1152010"/>
                </a:cubicBezTo>
                <a:cubicBezTo>
                  <a:pt x="5590908" y="1155067"/>
                  <a:pt x="5618977" y="1155668"/>
                  <a:pt x="5646935" y="1153804"/>
                </a:cubicBezTo>
                <a:cubicBezTo>
                  <a:pt x="5634591" y="1128687"/>
                  <a:pt x="5620049" y="1104711"/>
                  <a:pt x="5603481" y="1082157"/>
                </a:cubicBezTo>
                <a:close/>
                <a:moveTo>
                  <a:pt x="5109574" y="1082156"/>
                </a:moveTo>
                <a:cubicBezTo>
                  <a:pt x="5092969" y="1104667"/>
                  <a:pt x="5078404" y="1128614"/>
                  <a:pt x="5066050" y="1153710"/>
                </a:cubicBezTo>
                <a:cubicBezTo>
                  <a:pt x="5093962" y="1155570"/>
                  <a:pt x="5121984" y="1154962"/>
                  <a:pt x="5149789" y="1151893"/>
                </a:cubicBezTo>
                <a:cubicBezTo>
                  <a:pt x="5156540" y="1130425"/>
                  <a:pt x="5165504" y="1109716"/>
                  <a:pt x="5176537" y="1090101"/>
                </a:cubicBezTo>
                <a:cubicBezTo>
                  <a:pt x="5153999" y="1089819"/>
                  <a:pt x="5131553" y="1087157"/>
                  <a:pt x="5109574" y="1082156"/>
                </a:cubicBezTo>
                <a:close/>
                <a:moveTo>
                  <a:pt x="5470044" y="1081410"/>
                </a:moveTo>
                <a:cubicBezTo>
                  <a:pt x="5478215" y="1098209"/>
                  <a:pt x="5484266" y="1115961"/>
                  <a:pt x="5488055" y="1134254"/>
                </a:cubicBezTo>
                <a:cubicBezTo>
                  <a:pt x="5508859" y="1142006"/>
                  <a:pt x="5530446" y="1147474"/>
                  <a:pt x="5552432" y="1150564"/>
                </a:cubicBezTo>
                <a:cubicBezTo>
                  <a:pt x="5545598" y="1129445"/>
                  <a:pt x="5536488" y="1109135"/>
                  <a:pt x="5525264" y="1089984"/>
                </a:cubicBezTo>
                <a:cubicBezTo>
                  <a:pt x="5506576" y="1089397"/>
                  <a:pt x="5488031" y="1086517"/>
                  <a:pt x="5470044" y="1081410"/>
                </a:cubicBezTo>
                <a:close/>
                <a:moveTo>
                  <a:pt x="5242988" y="1081410"/>
                </a:moveTo>
                <a:cubicBezTo>
                  <a:pt x="5224995" y="1086531"/>
                  <a:pt x="5206442" y="1089427"/>
                  <a:pt x="5187744" y="1090031"/>
                </a:cubicBezTo>
                <a:cubicBezTo>
                  <a:pt x="5176549" y="1109188"/>
                  <a:pt x="5167456" y="1129501"/>
                  <a:pt x="5160623" y="1150610"/>
                </a:cubicBezTo>
                <a:cubicBezTo>
                  <a:pt x="5182601" y="1147516"/>
                  <a:pt x="5204178" y="1142048"/>
                  <a:pt x="5224977" y="1134300"/>
                </a:cubicBezTo>
                <a:cubicBezTo>
                  <a:pt x="5228762" y="1115991"/>
                  <a:pt x="5234812" y="1098223"/>
                  <a:pt x="5242988" y="1081410"/>
                </a:cubicBezTo>
                <a:close/>
                <a:moveTo>
                  <a:pt x="5356504" y="1076631"/>
                </a:moveTo>
                <a:cubicBezTo>
                  <a:pt x="5352224" y="1091995"/>
                  <a:pt x="5346024" y="1106760"/>
                  <a:pt x="5338051" y="1120574"/>
                </a:cubicBezTo>
                <a:cubicBezTo>
                  <a:pt x="5341819" y="1138986"/>
                  <a:pt x="5348023" y="1156812"/>
                  <a:pt x="5356504" y="1173581"/>
                </a:cubicBezTo>
                <a:cubicBezTo>
                  <a:pt x="5364995" y="1156815"/>
                  <a:pt x="5371202" y="1138988"/>
                  <a:pt x="5374958" y="1120574"/>
                </a:cubicBezTo>
                <a:cubicBezTo>
                  <a:pt x="5367024" y="1106741"/>
                  <a:pt x="5360824" y="1091981"/>
                  <a:pt x="5356504" y="1076631"/>
                </a:cubicBezTo>
                <a:close/>
                <a:moveTo>
                  <a:pt x="5387469" y="1071180"/>
                </a:moveTo>
                <a:cubicBezTo>
                  <a:pt x="5387842" y="1076003"/>
                  <a:pt x="5388168" y="1080780"/>
                  <a:pt x="5388168" y="1085603"/>
                </a:cubicBezTo>
                <a:cubicBezTo>
                  <a:pt x="5388129" y="1096724"/>
                  <a:pt x="5387108" y="1107817"/>
                  <a:pt x="5385116" y="1118758"/>
                </a:cubicBezTo>
                <a:cubicBezTo>
                  <a:pt x="5394914" y="1134763"/>
                  <a:pt x="5406817" y="1149379"/>
                  <a:pt x="5420508" y="1162212"/>
                </a:cubicBezTo>
                <a:cubicBezTo>
                  <a:pt x="5421531" y="1153792"/>
                  <a:pt x="5422074" y="1145320"/>
                  <a:pt x="5422139" y="1136839"/>
                </a:cubicBezTo>
                <a:cubicBezTo>
                  <a:pt x="5422177" y="1126557"/>
                  <a:pt x="5421396" y="1116288"/>
                  <a:pt x="5419809" y="1106130"/>
                </a:cubicBezTo>
                <a:cubicBezTo>
                  <a:pt x="5407626" y="1095861"/>
                  <a:pt x="5396764" y="1084123"/>
                  <a:pt x="5387469" y="1071180"/>
                </a:cubicBezTo>
                <a:close/>
                <a:moveTo>
                  <a:pt x="5325562" y="1071179"/>
                </a:moveTo>
                <a:cubicBezTo>
                  <a:pt x="5316249" y="1084141"/>
                  <a:pt x="5305364" y="1095898"/>
                  <a:pt x="5293152" y="1106175"/>
                </a:cubicBezTo>
                <a:cubicBezTo>
                  <a:pt x="5291580" y="1116343"/>
                  <a:pt x="5290799" y="1126618"/>
                  <a:pt x="5290823" y="1136908"/>
                </a:cubicBezTo>
                <a:cubicBezTo>
                  <a:pt x="5290867" y="1145382"/>
                  <a:pt x="5291405" y="1153846"/>
                  <a:pt x="5292430" y="1162258"/>
                </a:cubicBezTo>
                <a:cubicBezTo>
                  <a:pt x="5306130" y="1149401"/>
                  <a:pt x="5318048" y="1134773"/>
                  <a:pt x="5327869" y="1118757"/>
                </a:cubicBezTo>
                <a:cubicBezTo>
                  <a:pt x="5325900" y="1107816"/>
                  <a:pt x="5324903" y="1096720"/>
                  <a:pt x="5324887" y="1085602"/>
                </a:cubicBezTo>
                <a:cubicBezTo>
                  <a:pt x="5324887" y="1080779"/>
                  <a:pt x="5325190" y="1076002"/>
                  <a:pt x="5325562" y="1071179"/>
                </a:cubicBezTo>
                <a:close/>
                <a:moveTo>
                  <a:pt x="5414684" y="1055430"/>
                </a:moveTo>
                <a:cubicBezTo>
                  <a:pt x="5421285" y="1069988"/>
                  <a:pt x="5426038" y="1085312"/>
                  <a:pt x="5428827" y="1101051"/>
                </a:cubicBezTo>
                <a:cubicBezTo>
                  <a:pt x="5443524" y="1112750"/>
                  <a:pt x="5459732" y="1122414"/>
                  <a:pt x="5477011" y="1129779"/>
                </a:cubicBezTo>
                <a:cubicBezTo>
                  <a:pt x="5472721" y="1111489"/>
                  <a:pt x="5466016" y="1093850"/>
                  <a:pt x="5457066" y="1077332"/>
                </a:cubicBezTo>
                <a:cubicBezTo>
                  <a:pt x="5442070" y="1071849"/>
                  <a:pt x="5427830" y="1064491"/>
                  <a:pt x="5414684" y="1055430"/>
                </a:cubicBezTo>
                <a:close/>
                <a:moveTo>
                  <a:pt x="5298348" y="1055429"/>
                </a:moveTo>
                <a:cubicBezTo>
                  <a:pt x="5285207" y="1064486"/>
                  <a:pt x="5270976" y="1071843"/>
                  <a:pt x="5255989" y="1077330"/>
                </a:cubicBezTo>
                <a:cubicBezTo>
                  <a:pt x="5247011" y="1093817"/>
                  <a:pt x="5240287" y="1111432"/>
                  <a:pt x="5235998" y="1129708"/>
                </a:cubicBezTo>
                <a:cubicBezTo>
                  <a:pt x="5253296" y="1122337"/>
                  <a:pt x="5269526" y="1112672"/>
                  <a:pt x="5284252" y="1100980"/>
                </a:cubicBezTo>
                <a:cubicBezTo>
                  <a:pt x="5287031" y="1085266"/>
                  <a:pt x="5291766" y="1069966"/>
                  <a:pt x="5298348" y="1055429"/>
                </a:cubicBezTo>
                <a:close/>
                <a:moveTo>
                  <a:pt x="5278193" y="1031383"/>
                </a:moveTo>
                <a:cubicBezTo>
                  <a:pt x="5262702" y="1035372"/>
                  <a:pt x="5246775" y="1037415"/>
                  <a:pt x="5230779" y="1037464"/>
                </a:cubicBezTo>
                <a:cubicBezTo>
                  <a:pt x="5216745" y="1049902"/>
                  <a:pt x="5204442" y="1064163"/>
                  <a:pt x="5194198" y="1079870"/>
                </a:cubicBezTo>
                <a:cubicBezTo>
                  <a:pt x="5212955" y="1078828"/>
                  <a:pt x="5231488" y="1075277"/>
                  <a:pt x="5249302" y="1069315"/>
                </a:cubicBezTo>
                <a:cubicBezTo>
                  <a:pt x="5257290" y="1055501"/>
                  <a:pt x="5266998" y="1042756"/>
                  <a:pt x="5278193" y="1031383"/>
                </a:cubicBezTo>
                <a:close/>
                <a:moveTo>
                  <a:pt x="5434861" y="1031360"/>
                </a:moveTo>
                <a:cubicBezTo>
                  <a:pt x="5446045" y="1042740"/>
                  <a:pt x="5455735" y="1055495"/>
                  <a:pt x="5463706" y="1069316"/>
                </a:cubicBezTo>
                <a:cubicBezTo>
                  <a:pt x="5481530" y="1075273"/>
                  <a:pt x="5500070" y="1078822"/>
                  <a:pt x="5518833" y="1079871"/>
                </a:cubicBezTo>
                <a:cubicBezTo>
                  <a:pt x="5508609" y="1064162"/>
                  <a:pt x="5496323" y="1049900"/>
                  <a:pt x="5482299" y="1037465"/>
                </a:cubicBezTo>
                <a:cubicBezTo>
                  <a:pt x="5466292" y="1037427"/>
                  <a:pt x="5450355" y="1035377"/>
                  <a:pt x="5434861" y="1031360"/>
                </a:cubicBezTo>
                <a:close/>
                <a:moveTo>
                  <a:pt x="5550544" y="1026073"/>
                </a:moveTo>
                <a:cubicBezTo>
                  <a:pt x="5532790" y="1031947"/>
                  <a:pt x="5514374" y="1035593"/>
                  <a:pt x="5495720" y="1036931"/>
                </a:cubicBezTo>
                <a:cubicBezTo>
                  <a:pt x="5509129" y="1050006"/>
                  <a:pt x="5520905" y="1064660"/>
                  <a:pt x="5530786" y="1080571"/>
                </a:cubicBezTo>
                <a:cubicBezTo>
                  <a:pt x="5552953" y="1080660"/>
                  <a:pt x="5575067" y="1078369"/>
                  <a:pt x="5596748" y="1073744"/>
                </a:cubicBezTo>
                <a:cubicBezTo>
                  <a:pt x="5583099" y="1056244"/>
                  <a:pt x="5567609" y="1040263"/>
                  <a:pt x="5550544" y="1026073"/>
                </a:cubicBezTo>
                <a:close/>
                <a:moveTo>
                  <a:pt x="5162441" y="1026072"/>
                </a:moveTo>
                <a:cubicBezTo>
                  <a:pt x="5145443" y="1040229"/>
                  <a:pt x="5130015" y="1056174"/>
                  <a:pt x="5116424" y="1073628"/>
                </a:cubicBezTo>
                <a:cubicBezTo>
                  <a:pt x="5138112" y="1078255"/>
                  <a:pt x="5160233" y="1080545"/>
                  <a:pt x="5182409" y="1080455"/>
                </a:cubicBezTo>
                <a:cubicBezTo>
                  <a:pt x="5192223" y="1064529"/>
                  <a:pt x="5203961" y="1049871"/>
                  <a:pt x="5217358" y="1036813"/>
                </a:cubicBezTo>
                <a:cubicBezTo>
                  <a:pt x="5198678" y="1035525"/>
                  <a:pt x="5180230" y="1031918"/>
                  <a:pt x="5162441" y="1026072"/>
                </a:cubicBezTo>
                <a:close/>
                <a:moveTo>
                  <a:pt x="5621468" y="991893"/>
                </a:moveTo>
                <a:cubicBezTo>
                  <a:pt x="5602477" y="1004058"/>
                  <a:pt x="5582278" y="1014223"/>
                  <a:pt x="5561192" y="1022229"/>
                </a:cubicBezTo>
                <a:cubicBezTo>
                  <a:pt x="5578296" y="1036934"/>
                  <a:pt x="5593812" y="1053387"/>
                  <a:pt x="5607489" y="1071323"/>
                </a:cubicBezTo>
                <a:cubicBezTo>
                  <a:pt x="5634640" y="1064696"/>
                  <a:pt x="5661150" y="1055675"/>
                  <a:pt x="5686708" y="1044364"/>
                </a:cubicBezTo>
                <a:cubicBezTo>
                  <a:pt x="5666544" y="1024993"/>
                  <a:pt x="5644712" y="1007434"/>
                  <a:pt x="5621468" y="991893"/>
                </a:cubicBezTo>
                <a:close/>
                <a:moveTo>
                  <a:pt x="5091540" y="991893"/>
                </a:moveTo>
                <a:cubicBezTo>
                  <a:pt x="5068292" y="1007429"/>
                  <a:pt x="5046461" y="1024988"/>
                  <a:pt x="5026301" y="1044364"/>
                </a:cubicBezTo>
                <a:cubicBezTo>
                  <a:pt x="5051858" y="1055677"/>
                  <a:pt x="5078368" y="1064698"/>
                  <a:pt x="5105520" y="1071323"/>
                </a:cubicBezTo>
                <a:cubicBezTo>
                  <a:pt x="5119220" y="1053387"/>
                  <a:pt x="5134743" y="1036917"/>
                  <a:pt x="5151840" y="1022183"/>
                </a:cubicBezTo>
                <a:cubicBezTo>
                  <a:pt x="5130748" y="1014195"/>
                  <a:pt x="5110540" y="1004046"/>
                  <a:pt x="5091540" y="991893"/>
                </a:cubicBezTo>
                <a:close/>
                <a:moveTo>
                  <a:pt x="5492108" y="991284"/>
                </a:moveTo>
                <a:cubicBezTo>
                  <a:pt x="5477147" y="996762"/>
                  <a:pt x="5461550" y="1000324"/>
                  <a:pt x="5445695" y="1001885"/>
                </a:cubicBezTo>
                <a:cubicBezTo>
                  <a:pt x="5460038" y="1008784"/>
                  <a:pt x="5473468" y="1017440"/>
                  <a:pt x="5485677" y="1027655"/>
                </a:cubicBezTo>
                <a:cubicBezTo>
                  <a:pt x="5504448" y="1027154"/>
                  <a:pt x="5523066" y="1024146"/>
                  <a:pt x="5541037" y="1018708"/>
                </a:cubicBezTo>
                <a:cubicBezTo>
                  <a:pt x="5526025" y="1007421"/>
                  <a:pt x="5509569" y="998199"/>
                  <a:pt x="5492108" y="991284"/>
                </a:cubicBezTo>
                <a:close/>
                <a:moveTo>
                  <a:pt x="5220900" y="991284"/>
                </a:moveTo>
                <a:cubicBezTo>
                  <a:pt x="5203437" y="998171"/>
                  <a:pt x="5186973" y="1007363"/>
                  <a:pt x="5171947" y="1018615"/>
                </a:cubicBezTo>
                <a:cubicBezTo>
                  <a:pt x="5189925" y="1024060"/>
                  <a:pt x="5208552" y="1027068"/>
                  <a:pt x="5227330" y="1027562"/>
                </a:cubicBezTo>
                <a:cubicBezTo>
                  <a:pt x="5239539" y="1017377"/>
                  <a:pt x="5252980" y="1008766"/>
                  <a:pt x="5267336" y="1001932"/>
                </a:cubicBezTo>
                <a:cubicBezTo>
                  <a:pt x="5251475" y="1000324"/>
                  <a:pt x="5235876" y="996748"/>
                  <a:pt x="5220900" y="991284"/>
                </a:cubicBezTo>
                <a:close/>
                <a:moveTo>
                  <a:pt x="5160507" y="957199"/>
                </a:moveTo>
                <a:cubicBezTo>
                  <a:pt x="5139624" y="964648"/>
                  <a:pt x="5119622" y="974369"/>
                  <a:pt x="5100860" y="986183"/>
                </a:cubicBezTo>
                <a:cubicBezTo>
                  <a:pt x="5119649" y="997925"/>
                  <a:pt x="5139647" y="1007609"/>
                  <a:pt x="5160507" y="1015076"/>
                </a:cubicBezTo>
                <a:cubicBezTo>
                  <a:pt x="5175172" y="1003492"/>
                  <a:pt x="5191225" y="993789"/>
                  <a:pt x="5208295" y="986183"/>
                </a:cubicBezTo>
                <a:cubicBezTo>
                  <a:pt x="5191243" y="978506"/>
                  <a:pt x="5175195" y="968774"/>
                  <a:pt x="5160507" y="957199"/>
                </a:cubicBezTo>
                <a:close/>
                <a:moveTo>
                  <a:pt x="5552525" y="957198"/>
                </a:moveTo>
                <a:cubicBezTo>
                  <a:pt x="5537832" y="968778"/>
                  <a:pt x="5521776" y="978513"/>
                  <a:pt x="5504714" y="986183"/>
                </a:cubicBezTo>
                <a:cubicBezTo>
                  <a:pt x="5521793" y="993781"/>
                  <a:pt x="5537856" y="1003488"/>
                  <a:pt x="5552525" y="1015075"/>
                </a:cubicBezTo>
                <a:cubicBezTo>
                  <a:pt x="5573406" y="1007607"/>
                  <a:pt x="5593421" y="997905"/>
                  <a:pt x="5612219" y="986136"/>
                </a:cubicBezTo>
                <a:cubicBezTo>
                  <a:pt x="5593435" y="974347"/>
                  <a:pt x="5573418" y="964642"/>
                  <a:pt x="5552525" y="957198"/>
                </a:cubicBezTo>
                <a:close/>
                <a:moveTo>
                  <a:pt x="5227330" y="944522"/>
                </a:moveTo>
                <a:cubicBezTo>
                  <a:pt x="5208559" y="945030"/>
                  <a:pt x="5189941" y="948047"/>
                  <a:pt x="5171970" y="953492"/>
                </a:cubicBezTo>
                <a:cubicBezTo>
                  <a:pt x="5186979" y="964769"/>
                  <a:pt x="5203437" y="973978"/>
                  <a:pt x="5220899" y="980870"/>
                </a:cubicBezTo>
                <a:cubicBezTo>
                  <a:pt x="5235863" y="975424"/>
                  <a:pt x="5251446" y="971864"/>
                  <a:pt x="5267289" y="970268"/>
                </a:cubicBezTo>
                <a:cubicBezTo>
                  <a:pt x="5252950" y="963383"/>
                  <a:pt x="5239526" y="954734"/>
                  <a:pt x="5227330" y="944522"/>
                </a:cubicBezTo>
                <a:close/>
                <a:moveTo>
                  <a:pt x="5485724" y="944522"/>
                </a:moveTo>
                <a:cubicBezTo>
                  <a:pt x="5473515" y="954776"/>
                  <a:pt x="5460066" y="963458"/>
                  <a:pt x="5445695" y="970361"/>
                </a:cubicBezTo>
                <a:cubicBezTo>
                  <a:pt x="5461560" y="971913"/>
                  <a:pt x="5477166" y="975443"/>
                  <a:pt x="5492155" y="980870"/>
                </a:cubicBezTo>
                <a:cubicBezTo>
                  <a:pt x="5509622" y="973987"/>
                  <a:pt x="5526079" y="964779"/>
                  <a:pt x="5541084" y="953492"/>
                </a:cubicBezTo>
                <a:cubicBezTo>
                  <a:pt x="5523113" y="948047"/>
                  <a:pt x="5504494" y="945030"/>
                  <a:pt x="5485724" y="944522"/>
                </a:cubicBezTo>
                <a:close/>
                <a:moveTo>
                  <a:pt x="5105520" y="900931"/>
                </a:moveTo>
                <a:cubicBezTo>
                  <a:pt x="5078374" y="907578"/>
                  <a:pt x="5051866" y="916598"/>
                  <a:pt x="5026301" y="927889"/>
                </a:cubicBezTo>
                <a:cubicBezTo>
                  <a:pt x="5046463" y="947281"/>
                  <a:pt x="5068311" y="964842"/>
                  <a:pt x="5091587" y="980360"/>
                </a:cubicBezTo>
                <a:cubicBezTo>
                  <a:pt x="5110575" y="968188"/>
                  <a:pt x="5130785" y="958036"/>
                  <a:pt x="5151886" y="950070"/>
                </a:cubicBezTo>
                <a:cubicBezTo>
                  <a:pt x="5134759" y="935354"/>
                  <a:pt x="5119218" y="918883"/>
                  <a:pt x="5105520" y="900931"/>
                </a:cubicBezTo>
                <a:close/>
                <a:moveTo>
                  <a:pt x="5607418" y="900908"/>
                </a:moveTo>
                <a:cubicBezTo>
                  <a:pt x="5593739" y="918891"/>
                  <a:pt x="5578198" y="935378"/>
                  <a:pt x="5561052" y="950094"/>
                </a:cubicBezTo>
                <a:cubicBezTo>
                  <a:pt x="5582169" y="958060"/>
                  <a:pt x="5602393" y="968212"/>
                  <a:pt x="5621398" y="980383"/>
                </a:cubicBezTo>
                <a:cubicBezTo>
                  <a:pt x="5644640" y="964829"/>
                  <a:pt x="5666469" y="947263"/>
                  <a:pt x="5686638" y="927889"/>
                </a:cubicBezTo>
                <a:cubicBezTo>
                  <a:pt x="5661073" y="916591"/>
                  <a:pt x="5634565" y="907562"/>
                  <a:pt x="5607418" y="900908"/>
                </a:cubicBezTo>
                <a:close/>
                <a:moveTo>
                  <a:pt x="5194198" y="892424"/>
                </a:moveTo>
                <a:cubicBezTo>
                  <a:pt x="5204455" y="908114"/>
                  <a:pt x="5216757" y="922366"/>
                  <a:pt x="5230779" y="934806"/>
                </a:cubicBezTo>
                <a:cubicBezTo>
                  <a:pt x="5246761" y="934850"/>
                  <a:pt x="5262676" y="936901"/>
                  <a:pt x="5278147" y="940911"/>
                </a:cubicBezTo>
                <a:cubicBezTo>
                  <a:pt x="5266984" y="929506"/>
                  <a:pt x="5257294" y="916747"/>
                  <a:pt x="5249302" y="902932"/>
                </a:cubicBezTo>
                <a:cubicBezTo>
                  <a:pt x="5231483" y="896995"/>
                  <a:pt x="5212951" y="893461"/>
                  <a:pt x="5194198" y="892424"/>
                </a:cubicBezTo>
                <a:close/>
                <a:moveTo>
                  <a:pt x="5518833" y="892424"/>
                </a:moveTo>
                <a:cubicBezTo>
                  <a:pt x="5500072" y="893468"/>
                  <a:pt x="5481535" y="897002"/>
                  <a:pt x="5463706" y="902932"/>
                </a:cubicBezTo>
                <a:cubicBezTo>
                  <a:pt x="5455728" y="916756"/>
                  <a:pt x="5446038" y="929517"/>
                  <a:pt x="5434861" y="940911"/>
                </a:cubicBezTo>
                <a:cubicBezTo>
                  <a:pt x="5450355" y="936894"/>
                  <a:pt x="5466292" y="934843"/>
                  <a:pt x="5482299" y="934806"/>
                </a:cubicBezTo>
                <a:cubicBezTo>
                  <a:pt x="5496300" y="922360"/>
                  <a:pt x="5508586" y="908107"/>
                  <a:pt x="5518833" y="892424"/>
                </a:cubicBezTo>
                <a:close/>
                <a:moveTo>
                  <a:pt x="5182199" y="891844"/>
                </a:moveTo>
                <a:cubicBezTo>
                  <a:pt x="5159992" y="891736"/>
                  <a:pt x="5137838" y="894027"/>
                  <a:pt x="5116121" y="898670"/>
                </a:cubicBezTo>
                <a:cubicBezTo>
                  <a:pt x="5129765" y="916169"/>
                  <a:pt x="5145265" y="932136"/>
                  <a:pt x="5162348" y="946295"/>
                </a:cubicBezTo>
                <a:cubicBezTo>
                  <a:pt x="5180099" y="940440"/>
                  <a:pt x="5198505" y="936800"/>
                  <a:pt x="5217149" y="935461"/>
                </a:cubicBezTo>
                <a:cubicBezTo>
                  <a:pt x="5203752" y="922413"/>
                  <a:pt x="5192013" y="907762"/>
                  <a:pt x="5182199" y="891844"/>
                </a:cubicBezTo>
                <a:close/>
                <a:moveTo>
                  <a:pt x="5530786" y="891842"/>
                </a:moveTo>
                <a:cubicBezTo>
                  <a:pt x="5520898" y="907742"/>
                  <a:pt x="5509124" y="922386"/>
                  <a:pt x="5495720" y="935460"/>
                </a:cubicBezTo>
                <a:cubicBezTo>
                  <a:pt x="5514371" y="936799"/>
                  <a:pt x="5532785" y="940439"/>
                  <a:pt x="5550544" y="946294"/>
                </a:cubicBezTo>
                <a:cubicBezTo>
                  <a:pt x="5567642" y="932128"/>
                  <a:pt x="5583164" y="916160"/>
                  <a:pt x="5596841" y="898669"/>
                </a:cubicBezTo>
                <a:cubicBezTo>
                  <a:pt x="5575132" y="894026"/>
                  <a:pt x="5552986" y="891738"/>
                  <a:pt x="5530786" y="891842"/>
                </a:cubicBezTo>
                <a:close/>
                <a:moveTo>
                  <a:pt x="5235998" y="842563"/>
                </a:moveTo>
                <a:cubicBezTo>
                  <a:pt x="5240276" y="860865"/>
                  <a:pt x="5246984" y="878511"/>
                  <a:pt x="5255943" y="895033"/>
                </a:cubicBezTo>
                <a:cubicBezTo>
                  <a:pt x="5270924" y="900491"/>
                  <a:pt x="5285156" y="907818"/>
                  <a:pt x="5298301" y="916842"/>
                </a:cubicBezTo>
                <a:cubicBezTo>
                  <a:pt x="5291717" y="902307"/>
                  <a:pt x="5286982" y="887004"/>
                  <a:pt x="5284205" y="871291"/>
                </a:cubicBezTo>
                <a:cubicBezTo>
                  <a:pt x="5269487" y="859611"/>
                  <a:pt x="5253274" y="849950"/>
                  <a:pt x="5235998" y="842563"/>
                </a:cubicBezTo>
                <a:close/>
                <a:moveTo>
                  <a:pt x="5477011" y="842561"/>
                </a:moveTo>
                <a:cubicBezTo>
                  <a:pt x="5459732" y="849926"/>
                  <a:pt x="5443524" y="859591"/>
                  <a:pt x="5428827" y="871290"/>
                </a:cubicBezTo>
                <a:cubicBezTo>
                  <a:pt x="5426033" y="887005"/>
                  <a:pt x="5421282" y="902306"/>
                  <a:pt x="5414684" y="916841"/>
                </a:cubicBezTo>
                <a:cubicBezTo>
                  <a:pt x="5427834" y="907812"/>
                  <a:pt x="5442075" y="900484"/>
                  <a:pt x="5457066" y="895032"/>
                </a:cubicBezTo>
                <a:cubicBezTo>
                  <a:pt x="5466016" y="878506"/>
                  <a:pt x="5472724" y="860861"/>
                  <a:pt x="5477011" y="842561"/>
                </a:cubicBezTo>
                <a:close/>
                <a:moveTo>
                  <a:pt x="5160623" y="821781"/>
                </a:moveTo>
                <a:cubicBezTo>
                  <a:pt x="5167461" y="842881"/>
                  <a:pt x="5176553" y="863185"/>
                  <a:pt x="5187744" y="882337"/>
                </a:cubicBezTo>
                <a:cubicBezTo>
                  <a:pt x="5206442" y="882922"/>
                  <a:pt x="5224996" y="885811"/>
                  <a:pt x="5242988" y="890935"/>
                </a:cubicBezTo>
                <a:cubicBezTo>
                  <a:pt x="5234808" y="874089"/>
                  <a:pt x="5228758" y="856290"/>
                  <a:pt x="5224977" y="837951"/>
                </a:cubicBezTo>
                <a:cubicBezTo>
                  <a:pt x="5204164" y="830278"/>
                  <a:pt x="5182590" y="824859"/>
                  <a:pt x="5160623" y="821781"/>
                </a:cubicBezTo>
                <a:close/>
                <a:moveTo>
                  <a:pt x="5552432" y="821756"/>
                </a:moveTo>
                <a:cubicBezTo>
                  <a:pt x="5530449" y="824829"/>
                  <a:pt x="5508864" y="830274"/>
                  <a:pt x="5488055" y="837996"/>
                </a:cubicBezTo>
                <a:cubicBezTo>
                  <a:pt x="5484271" y="856321"/>
                  <a:pt x="5478220" y="874104"/>
                  <a:pt x="5470044" y="890933"/>
                </a:cubicBezTo>
                <a:cubicBezTo>
                  <a:pt x="5488027" y="885807"/>
                  <a:pt x="5506573" y="882918"/>
                  <a:pt x="5525264" y="882335"/>
                </a:cubicBezTo>
                <a:cubicBezTo>
                  <a:pt x="5536483" y="863183"/>
                  <a:pt x="5545593" y="842873"/>
                  <a:pt x="5552432" y="821756"/>
                </a:cubicBezTo>
                <a:close/>
                <a:moveTo>
                  <a:pt x="5066143" y="818450"/>
                </a:moveTo>
                <a:cubicBezTo>
                  <a:pt x="5078426" y="843583"/>
                  <a:pt x="5092929" y="867568"/>
                  <a:pt x="5109480" y="890120"/>
                </a:cubicBezTo>
                <a:cubicBezTo>
                  <a:pt x="5131464" y="885145"/>
                  <a:pt x="5153907" y="882475"/>
                  <a:pt x="5176444" y="882151"/>
                </a:cubicBezTo>
                <a:cubicBezTo>
                  <a:pt x="5165433" y="862514"/>
                  <a:pt x="5156500" y="841782"/>
                  <a:pt x="5149789" y="820291"/>
                </a:cubicBezTo>
                <a:cubicBezTo>
                  <a:pt x="5122015" y="817224"/>
                  <a:pt x="5094025" y="816607"/>
                  <a:pt x="5066143" y="818450"/>
                </a:cubicBezTo>
                <a:close/>
                <a:moveTo>
                  <a:pt x="5646935" y="818450"/>
                </a:moveTo>
                <a:cubicBezTo>
                  <a:pt x="5619031" y="816607"/>
                  <a:pt x="5591018" y="817215"/>
                  <a:pt x="5563219" y="820267"/>
                </a:cubicBezTo>
                <a:cubicBezTo>
                  <a:pt x="5556492" y="841759"/>
                  <a:pt x="5547559" y="862498"/>
                  <a:pt x="5536564" y="882151"/>
                </a:cubicBezTo>
                <a:cubicBezTo>
                  <a:pt x="5559086" y="882484"/>
                  <a:pt x="5581511" y="885155"/>
                  <a:pt x="5603481" y="890120"/>
                </a:cubicBezTo>
                <a:cubicBezTo>
                  <a:pt x="5620061" y="867566"/>
                  <a:pt x="5634602" y="843581"/>
                  <a:pt x="5646935" y="818450"/>
                </a:cubicBezTo>
                <a:close/>
                <a:moveTo>
                  <a:pt x="5292430" y="810013"/>
                </a:moveTo>
                <a:cubicBezTo>
                  <a:pt x="5291428" y="818427"/>
                  <a:pt x="5290890" y="826889"/>
                  <a:pt x="5290822" y="835363"/>
                </a:cubicBezTo>
                <a:cubicBezTo>
                  <a:pt x="5290824" y="845662"/>
                  <a:pt x="5291626" y="855944"/>
                  <a:pt x="5293222" y="866119"/>
                </a:cubicBezTo>
                <a:cubicBezTo>
                  <a:pt x="5305412" y="876380"/>
                  <a:pt x="5316277" y="888118"/>
                  <a:pt x="5325562" y="901068"/>
                </a:cubicBezTo>
                <a:cubicBezTo>
                  <a:pt x="5325189" y="896292"/>
                  <a:pt x="5324886" y="891469"/>
                  <a:pt x="5324886" y="886669"/>
                </a:cubicBezTo>
                <a:cubicBezTo>
                  <a:pt x="5324902" y="875550"/>
                  <a:pt x="5325900" y="864455"/>
                  <a:pt x="5327869" y="853514"/>
                </a:cubicBezTo>
                <a:cubicBezTo>
                  <a:pt x="5318059" y="837490"/>
                  <a:pt x="5306139" y="822858"/>
                  <a:pt x="5292430" y="810013"/>
                </a:cubicBezTo>
                <a:close/>
                <a:moveTo>
                  <a:pt x="5420601" y="810011"/>
                </a:moveTo>
                <a:cubicBezTo>
                  <a:pt x="5406876" y="822854"/>
                  <a:pt x="5394939" y="837486"/>
                  <a:pt x="5385116" y="853512"/>
                </a:cubicBezTo>
                <a:cubicBezTo>
                  <a:pt x="5387131" y="864451"/>
                  <a:pt x="5388178" y="875544"/>
                  <a:pt x="5388238" y="886667"/>
                </a:cubicBezTo>
                <a:cubicBezTo>
                  <a:pt x="5388238" y="891467"/>
                  <a:pt x="5387912" y="896406"/>
                  <a:pt x="5387539" y="901066"/>
                </a:cubicBezTo>
                <a:cubicBezTo>
                  <a:pt x="5396838" y="888121"/>
                  <a:pt x="5407710" y="876383"/>
                  <a:pt x="5419902" y="866117"/>
                </a:cubicBezTo>
                <a:cubicBezTo>
                  <a:pt x="5421478" y="855942"/>
                  <a:pt x="5422256" y="845657"/>
                  <a:pt x="5422232" y="835361"/>
                </a:cubicBezTo>
                <a:cubicBezTo>
                  <a:pt x="5422167" y="826887"/>
                  <a:pt x="5421622" y="818425"/>
                  <a:pt x="5420601" y="810011"/>
                </a:cubicBezTo>
                <a:close/>
                <a:moveTo>
                  <a:pt x="5356504" y="798711"/>
                </a:moveTo>
                <a:cubicBezTo>
                  <a:pt x="5348016" y="815461"/>
                  <a:pt x="5341812" y="833274"/>
                  <a:pt x="5338051" y="851671"/>
                </a:cubicBezTo>
                <a:cubicBezTo>
                  <a:pt x="5346022" y="865479"/>
                  <a:pt x="5352222" y="880234"/>
                  <a:pt x="5356504" y="895591"/>
                </a:cubicBezTo>
                <a:cubicBezTo>
                  <a:pt x="5360819" y="880258"/>
                  <a:pt x="5367024" y="865518"/>
                  <a:pt x="5374981" y="851718"/>
                </a:cubicBezTo>
                <a:cubicBezTo>
                  <a:pt x="5371216" y="833304"/>
                  <a:pt x="5365002" y="815475"/>
                  <a:pt x="5356504" y="798711"/>
                </a:cubicBezTo>
                <a:close/>
                <a:moveTo>
                  <a:pt x="5228635" y="764673"/>
                </a:moveTo>
                <a:cubicBezTo>
                  <a:pt x="5228542" y="768075"/>
                  <a:pt x="5228379" y="771640"/>
                  <a:pt x="5228379" y="775065"/>
                </a:cubicBezTo>
                <a:cubicBezTo>
                  <a:pt x="5228312" y="793791"/>
                  <a:pt x="5230013" y="812484"/>
                  <a:pt x="5233458" y="830891"/>
                </a:cubicBezTo>
                <a:cubicBezTo>
                  <a:pt x="5250808" y="837825"/>
                  <a:pt x="5267240" y="846863"/>
                  <a:pt x="5282388" y="857802"/>
                </a:cubicBezTo>
                <a:cubicBezTo>
                  <a:pt x="5281563" y="850367"/>
                  <a:pt x="5281127" y="842893"/>
                  <a:pt x="5281083" y="835411"/>
                </a:cubicBezTo>
                <a:cubicBezTo>
                  <a:pt x="5281129" y="824213"/>
                  <a:pt x="5281961" y="813034"/>
                  <a:pt x="5283576" y="801953"/>
                </a:cubicBezTo>
                <a:cubicBezTo>
                  <a:pt x="5266653" y="787591"/>
                  <a:pt x="5248234" y="775093"/>
                  <a:pt x="5228635" y="764673"/>
                </a:cubicBezTo>
                <a:close/>
                <a:moveTo>
                  <a:pt x="5484373" y="764672"/>
                </a:moveTo>
                <a:cubicBezTo>
                  <a:pt x="5464771" y="775080"/>
                  <a:pt x="5446337" y="787555"/>
                  <a:pt x="5429386" y="801882"/>
                </a:cubicBezTo>
                <a:cubicBezTo>
                  <a:pt x="5431052" y="812998"/>
                  <a:pt x="5431926" y="824217"/>
                  <a:pt x="5431996" y="835457"/>
                </a:cubicBezTo>
                <a:cubicBezTo>
                  <a:pt x="5431940" y="842945"/>
                  <a:pt x="5431506" y="850427"/>
                  <a:pt x="5430691" y="857871"/>
                </a:cubicBezTo>
                <a:cubicBezTo>
                  <a:pt x="5445829" y="846913"/>
                  <a:pt x="5462264" y="837866"/>
                  <a:pt x="5479620" y="830936"/>
                </a:cubicBezTo>
                <a:cubicBezTo>
                  <a:pt x="5483048" y="812497"/>
                  <a:pt x="5484723" y="793773"/>
                  <a:pt x="5484630" y="775017"/>
                </a:cubicBezTo>
                <a:cubicBezTo>
                  <a:pt x="5484630" y="771662"/>
                  <a:pt x="5484490" y="768144"/>
                  <a:pt x="5484373" y="764672"/>
                </a:cubicBezTo>
                <a:close/>
                <a:moveTo>
                  <a:pt x="5312118" y="734314"/>
                </a:moveTo>
                <a:cubicBezTo>
                  <a:pt x="5303780" y="754899"/>
                  <a:pt x="5297694" y="776328"/>
                  <a:pt x="5293968" y="798225"/>
                </a:cubicBezTo>
                <a:cubicBezTo>
                  <a:pt x="5307915" y="810642"/>
                  <a:pt x="5320278" y="824726"/>
                  <a:pt x="5330782" y="840165"/>
                </a:cubicBezTo>
                <a:cubicBezTo>
                  <a:pt x="5335358" y="822033"/>
                  <a:pt x="5342150" y="804537"/>
                  <a:pt x="5351006" y="788067"/>
                </a:cubicBezTo>
                <a:cubicBezTo>
                  <a:pt x="5340018" y="768800"/>
                  <a:pt x="5326979" y="750778"/>
                  <a:pt x="5312118" y="734314"/>
                </a:cubicBezTo>
                <a:close/>
                <a:moveTo>
                  <a:pt x="5400913" y="734313"/>
                </a:moveTo>
                <a:cubicBezTo>
                  <a:pt x="5386057" y="750777"/>
                  <a:pt x="5373025" y="768799"/>
                  <a:pt x="5362049" y="788066"/>
                </a:cubicBezTo>
                <a:cubicBezTo>
                  <a:pt x="5370894" y="804538"/>
                  <a:pt x="5377678" y="822034"/>
                  <a:pt x="5382250" y="840164"/>
                </a:cubicBezTo>
                <a:cubicBezTo>
                  <a:pt x="5392767" y="824695"/>
                  <a:pt x="5405139" y="810571"/>
                  <a:pt x="5419087" y="798108"/>
                </a:cubicBezTo>
                <a:cubicBezTo>
                  <a:pt x="5415331" y="776253"/>
                  <a:pt x="5409238" y="754866"/>
                  <a:pt x="5400913" y="734313"/>
                </a:cubicBezTo>
                <a:close/>
                <a:moveTo>
                  <a:pt x="5140982" y="729260"/>
                </a:moveTo>
                <a:cubicBezTo>
                  <a:pt x="5143985" y="757064"/>
                  <a:pt x="5149435" y="784546"/>
                  <a:pt x="5157268" y="811392"/>
                </a:cubicBezTo>
                <a:cubicBezTo>
                  <a:pt x="5179626" y="814276"/>
                  <a:pt x="5201622" y="819477"/>
                  <a:pt x="5222904" y="826909"/>
                </a:cubicBezTo>
                <a:cubicBezTo>
                  <a:pt x="5220055" y="809761"/>
                  <a:pt x="5218636" y="792405"/>
                  <a:pt x="5218663" y="775021"/>
                </a:cubicBezTo>
                <a:cubicBezTo>
                  <a:pt x="5218663" y="769941"/>
                  <a:pt x="5218850" y="764745"/>
                  <a:pt x="5219059" y="759550"/>
                </a:cubicBezTo>
                <a:cubicBezTo>
                  <a:pt x="5193978" y="747170"/>
                  <a:pt x="5167850" y="737035"/>
                  <a:pt x="5140982" y="729260"/>
                </a:cubicBezTo>
                <a:close/>
                <a:moveTo>
                  <a:pt x="5572073" y="729259"/>
                </a:moveTo>
                <a:cubicBezTo>
                  <a:pt x="5545192" y="737036"/>
                  <a:pt x="5519054" y="747188"/>
                  <a:pt x="5493972" y="759595"/>
                </a:cubicBezTo>
                <a:cubicBezTo>
                  <a:pt x="5494205" y="764791"/>
                  <a:pt x="5494368" y="769940"/>
                  <a:pt x="5494368" y="775020"/>
                </a:cubicBezTo>
                <a:cubicBezTo>
                  <a:pt x="5494392" y="792418"/>
                  <a:pt x="5492980" y="809788"/>
                  <a:pt x="5490151" y="826955"/>
                </a:cubicBezTo>
                <a:cubicBezTo>
                  <a:pt x="5511419" y="819504"/>
                  <a:pt x="5533409" y="814303"/>
                  <a:pt x="5555763" y="811437"/>
                </a:cubicBezTo>
                <a:cubicBezTo>
                  <a:pt x="5563615" y="784580"/>
                  <a:pt x="5569074" y="757079"/>
                  <a:pt x="5572073" y="729259"/>
                </a:cubicBezTo>
                <a:close/>
                <a:moveTo>
                  <a:pt x="5241846" y="671034"/>
                </a:moveTo>
                <a:cubicBezTo>
                  <a:pt x="5235121" y="698194"/>
                  <a:pt x="5230824" y="725898"/>
                  <a:pt x="5229008" y="753818"/>
                </a:cubicBezTo>
                <a:cubicBezTo>
                  <a:pt x="5249026" y="764203"/>
                  <a:pt x="5267914" y="776633"/>
                  <a:pt x="5285370" y="790911"/>
                </a:cubicBezTo>
                <a:cubicBezTo>
                  <a:pt x="5289562" y="768741"/>
                  <a:pt x="5296060" y="747073"/>
                  <a:pt x="5304755" y="726254"/>
                </a:cubicBezTo>
                <a:cubicBezTo>
                  <a:pt x="5285445" y="706040"/>
                  <a:pt x="5264393" y="687560"/>
                  <a:pt x="5241846" y="671034"/>
                </a:cubicBezTo>
                <a:close/>
                <a:moveTo>
                  <a:pt x="5471325" y="671008"/>
                </a:moveTo>
                <a:cubicBezTo>
                  <a:pt x="5448752" y="687558"/>
                  <a:pt x="5427663" y="706041"/>
                  <a:pt x="5408299" y="726252"/>
                </a:cubicBezTo>
                <a:cubicBezTo>
                  <a:pt x="5416992" y="747072"/>
                  <a:pt x="5423495" y="768741"/>
                  <a:pt x="5427708" y="790908"/>
                </a:cubicBezTo>
                <a:cubicBezTo>
                  <a:pt x="5445166" y="776623"/>
                  <a:pt x="5464062" y="764191"/>
                  <a:pt x="5484093" y="753815"/>
                </a:cubicBezTo>
                <a:cubicBezTo>
                  <a:pt x="5482287" y="725891"/>
                  <a:pt x="5478014" y="698180"/>
                  <a:pt x="5471325" y="671008"/>
                </a:cubicBezTo>
                <a:close/>
                <a:moveTo>
                  <a:pt x="5356504" y="650809"/>
                </a:moveTo>
                <a:cubicBezTo>
                  <a:pt x="5340926" y="674047"/>
                  <a:pt x="5327415" y="698606"/>
                  <a:pt x="5316126" y="724203"/>
                </a:cubicBezTo>
                <a:cubicBezTo>
                  <a:pt x="5331399" y="740809"/>
                  <a:pt x="5344908" y="758955"/>
                  <a:pt x="5356435" y="778352"/>
                </a:cubicBezTo>
                <a:cubicBezTo>
                  <a:pt x="5367977" y="758962"/>
                  <a:pt x="5381493" y="740814"/>
                  <a:pt x="5396766" y="724203"/>
                </a:cubicBezTo>
                <a:cubicBezTo>
                  <a:pt x="5385531" y="698601"/>
                  <a:pt x="5372057" y="674042"/>
                  <a:pt x="5356504" y="650809"/>
                </a:cubicBezTo>
                <a:close/>
                <a:moveTo>
                  <a:pt x="5631650" y="502902"/>
                </a:moveTo>
                <a:cubicBezTo>
                  <a:pt x="5657606" y="502902"/>
                  <a:pt x="5663920" y="524874"/>
                  <a:pt x="5663920" y="545890"/>
                </a:cubicBezTo>
                <a:cubicBezTo>
                  <a:pt x="5663920" y="554302"/>
                  <a:pt x="5662755" y="571124"/>
                  <a:pt x="5654344" y="582564"/>
                </a:cubicBezTo>
                <a:cubicBezTo>
                  <a:pt x="5646865" y="592863"/>
                  <a:pt x="5635169" y="594028"/>
                  <a:pt x="5629577" y="594028"/>
                </a:cubicBezTo>
                <a:cubicBezTo>
                  <a:pt x="5598821" y="594028"/>
                  <a:pt x="5596701" y="564740"/>
                  <a:pt x="5596701" y="550574"/>
                </a:cubicBezTo>
                <a:cubicBezTo>
                  <a:pt x="5596701" y="540042"/>
                  <a:pt x="5596701" y="502902"/>
                  <a:pt x="5631650" y="502902"/>
                </a:cubicBezTo>
                <a:close/>
                <a:moveTo>
                  <a:pt x="5502849" y="500457"/>
                </a:moveTo>
                <a:cubicBezTo>
                  <a:pt x="5533395" y="500340"/>
                  <a:pt x="5535725" y="534218"/>
                  <a:pt x="5535725" y="545891"/>
                </a:cubicBezTo>
                <a:cubicBezTo>
                  <a:pt x="5535725" y="565044"/>
                  <a:pt x="5528945" y="591442"/>
                  <a:pt x="5501847" y="591442"/>
                </a:cubicBezTo>
                <a:cubicBezTo>
                  <a:pt x="5469228" y="591442"/>
                  <a:pt x="5469228" y="554768"/>
                  <a:pt x="5469228" y="547056"/>
                </a:cubicBezTo>
                <a:cubicBezTo>
                  <a:pt x="5469228" y="539344"/>
                  <a:pt x="5469228" y="500457"/>
                  <a:pt x="5502849" y="500457"/>
                </a:cubicBezTo>
                <a:close/>
                <a:moveTo>
                  <a:pt x="5637731" y="486546"/>
                </a:moveTo>
                <a:cubicBezTo>
                  <a:pt x="5628155" y="486546"/>
                  <a:pt x="5608747" y="489342"/>
                  <a:pt x="5597796" y="507795"/>
                </a:cubicBezTo>
                <a:lnTo>
                  <a:pt x="5597143" y="488433"/>
                </a:lnTo>
                <a:lnTo>
                  <a:pt x="5574962" y="488433"/>
                </a:lnTo>
                <a:cubicBezTo>
                  <a:pt x="5575428" y="499640"/>
                  <a:pt x="5575661" y="502413"/>
                  <a:pt x="5575661" y="507562"/>
                </a:cubicBezTo>
                <a:lnTo>
                  <a:pt x="5575731" y="650763"/>
                </a:lnTo>
                <a:lnTo>
                  <a:pt x="5597470" y="650763"/>
                </a:lnTo>
                <a:lnTo>
                  <a:pt x="5597470" y="592700"/>
                </a:lnTo>
                <a:cubicBezTo>
                  <a:pt x="5603737" y="602975"/>
                  <a:pt x="5616366" y="610198"/>
                  <a:pt x="5633421" y="610198"/>
                </a:cubicBezTo>
                <a:cubicBezTo>
                  <a:pt x="5661381" y="610198"/>
                  <a:pt x="5687010" y="591045"/>
                  <a:pt x="5687010" y="547288"/>
                </a:cubicBezTo>
                <a:cubicBezTo>
                  <a:pt x="5687010" y="503532"/>
                  <a:pt x="5662965" y="486546"/>
                  <a:pt x="5637731" y="486546"/>
                </a:cubicBezTo>
                <a:close/>
                <a:moveTo>
                  <a:pt x="5447652" y="443582"/>
                </a:moveTo>
                <a:lnTo>
                  <a:pt x="5447652" y="584685"/>
                </a:lnTo>
                <a:lnTo>
                  <a:pt x="5447163" y="605655"/>
                </a:lnTo>
                <a:lnTo>
                  <a:pt x="5468412" y="605655"/>
                </a:lnTo>
                <a:lnTo>
                  <a:pt x="5468995" y="588040"/>
                </a:lnTo>
                <a:cubicBezTo>
                  <a:pt x="5471884" y="592811"/>
                  <a:pt x="5475801" y="596879"/>
                  <a:pt x="5480458" y="599947"/>
                </a:cubicBezTo>
                <a:cubicBezTo>
                  <a:pt x="5488226" y="605003"/>
                  <a:pt x="5497334" y="607608"/>
                  <a:pt x="5506601" y="607426"/>
                </a:cubicBezTo>
                <a:cubicBezTo>
                  <a:pt x="5522724" y="607426"/>
                  <a:pt x="5538381" y="600646"/>
                  <a:pt x="5547748" y="587341"/>
                </a:cubicBezTo>
                <a:cubicBezTo>
                  <a:pt x="5553596" y="579629"/>
                  <a:pt x="5558955" y="567234"/>
                  <a:pt x="5558955" y="544563"/>
                </a:cubicBezTo>
                <a:cubicBezTo>
                  <a:pt x="5558955" y="518933"/>
                  <a:pt x="5551010" y="507283"/>
                  <a:pt x="5545162" y="500433"/>
                </a:cubicBezTo>
                <a:cubicBezTo>
                  <a:pt x="5534420" y="488271"/>
                  <a:pt x="5519695" y="485475"/>
                  <a:pt x="5508022" y="485475"/>
                </a:cubicBezTo>
                <a:cubicBezTo>
                  <a:pt x="5481390" y="485475"/>
                  <a:pt x="5472723" y="500200"/>
                  <a:pt x="5469717" y="505559"/>
                </a:cubicBezTo>
                <a:lnTo>
                  <a:pt x="5469624" y="443582"/>
                </a:lnTo>
                <a:close/>
                <a:moveTo>
                  <a:pt x="0" y="0"/>
                </a:moveTo>
                <a:lnTo>
                  <a:pt x="6096000" y="0"/>
                </a:lnTo>
                <a:lnTo>
                  <a:pt x="6096000" y="6857994"/>
                </a:lnTo>
                <a:lnTo>
                  <a:pt x="0" y="6857994"/>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15" name="Text Placeholder 9">
            <a:extLst>
              <a:ext uri="{FF2B5EF4-FFF2-40B4-BE49-F238E27FC236}">
                <a16:creationId xmlns:a16="http://schemas.microsoft.com/office/drawing/2014/main" id="{914552C8-4279-41B9-A1DB-C2B5DBC0E40A}"/>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6" name="Text Placeholder 9">
            <a:extLst>
              <a:ext uri="{FF2B5EF4-FFF2-40B4-BE49-F238E27FC236}">
                <a16:creationId xmlns:a16="http://schemas.microsoft.com/office/drawing/2014/main" id="{E57461BC-D0A5-4129-9A90-806219388604}"/>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E357D9F2-0949-44BA-A953-567980ED46A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7988" y="6174856"/>
            <a:ext cx="944562" cy="450814"/>
          </a:xfrm>
          <a:prstGeom prst="rect">
            <a:avLst/>
          </a:prstGeom>
        </p:spPr>
      </p:pic>
      <p:sp>
        <p:nvSpPr>
          <p:cNvPr id="9" name="Text Placeholder 9">
            <a:extLst>
              <a:ext uri="{FF2B5EF4-FFF2-40B4-BE49-F238E27FC236}">
                <a16:creationId xmlns:a16="http://schemas.microsoft.com/office/drawing/2014/main" id="{B6551430-9A83-4284-99DC-5558D8CD35C8}"/>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accent5"/>
                </a:solidFill>
              </a:defRPr>
            </a:lvl1pPr>
            <a:lvl2pPr marL="0" indent="0">
              <a:lnSpc>
                <a:spcPct val="90000"/>
              </a:lnSpc>
              <a:spcBef>
                <a:spcPts val="500"/>
              </a:spcBef>
              <a:buNone/>
              <a:defRPr sz="4800">
                <a:solidFill>
                  <a:schemeClr val="tx1"/>
                </a:solidFill>
                <a:latin typeface="+mn-lt"/>
              </a:defRPr>
            </a:lvl2pPr>
            <a:lvl3pPr marL="0" indent="0">
              <a:lnSpc>
                <a:spcPct val="90000"/>
              </a:lnSpc>
              <a:buNone/>
              <a:defRPr sz="4800">
                <a:solidFill>
                  <a:schemeClr val="accent5"/>
                </a:solidFill>
              </a:defRPr>
            </a:lvl3pPr>
            <a:lvl4pPr marL="0" indent="0">
              <a:lnSpc>
                <a:spcPct val="90000"/>
              </a:lnSpc>
              <a:buFont typeface="Arial" panose="020B0604020202020204" pitchFamily="34" charset="0"/>
              <a:buNone/>
              <a:defRPr sz="4800">
                <a:solidFill>
                  <a:schemeClr val="accent5"/>
                </a:solidFill>
              </a:defRPr>
            </a:lvl4pPr>
            <a:lvl5pPr marL="0" indent="0">
              <a:lnSpc>
                <a:spcPct val="90000"/>
              </a:lnSpc>
              <a:buFont typeface="Arial" panose="020B0604020202020204" pitchFamily="34" charset="0"/>
              <a:buNone/>
              <a:defRPr sz="4800">
                <a:solidFill>
                  <a:schemeClr val="accent5"/>
                </a:solidFill>
              </a:defRPr>
            </a:lvl5pPr>
            <a:lvl6pPr>
              <a:defRPr sz="4800">
                <a:solidFill>
                  <a:schemeClr val="accent5"/>
                </a:solidFill>
              </a:defRPr>
            </a:lvl6pPr>
            <a:lvl7pPr>
              <a:defRPr sz="4800">
                <a:solidFill>
                  <a:schemeClr val="accent5"/>
                </a:solidFill>
              </a:defRPr>
            </a:lvl7pPr>
            <a:lvl8pPr>
              <a:defRPr sz="4800">
                <a:solidFill>
                  <a:schemeClr val="accent5"/>
                </a:solidFill>
              </a:defRPr>
            </a:lvl8pPr>
            <a:lvl9pPr>
              <a:defRPr sz="48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278806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11376024"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Tree>
    <p:extLst>
      <p:ext uri="{BB962C8B-B14F-4D97-AF65-F5344CB8AC3E}">
        <p14:creationId xmlns:p14="http://schemas.microsoft.com/office/powerpoint/2010/main" val="154371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8" name="Content Placeholder 7">
            <a:extLst>
              <a:ext uri="{FF2B5EF4-FFF2-40B4-BE49-F238E27FC236}">
                <a16:creationId xmlns:a16="http://schemas.microsoft.com/office/drawing/2014/main" id="{404571F2-3FCD-4B41-848F-D94E5AEEC8C6}"/>
              </a:ext>
            </a:extLst>
          </p:cNvPr>
          <p:cNvSpPr>
            <a:spLocks noGrp="1"/>
          </p:cNvSpPr>
          <p:nvPr>
            <p:ph sz="quarter" idx="15" hasCustomPrompt="1"/>
          </p:nvPr>
        </p:nvSpPr>
        <p:spPr>
          <a:xfrm>
            <a:off x="6240013"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472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359999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16" name="Content Placeholder 7">
            <a:extLst>
              <a:ext uri="{FF2B5EF4-FFF2-40B4-BE49-F238E27FC236}">
                <a16:creationId xmlns:a16="http://schemas.microsoft.com/office/drawing/2014/main" id="{189141B7-7DE2-4B6C-A7E7-B899D64E4360}"/>
              </a:ext>
            </a:extLst>
          </p:cNvPr>
          <p:cNvSpPr>
            <a:spLocks noGrp="1"/>
          </p:cNvSpPr>
          <p:nvPr>
            <p:ph sz="quarter" idx="15" hasCustomPrompt="1"/>
          </p:nvPr>
        </p:nvSpPr>
        <p:spPr>
          <a:xfrm>
            <a:off x="4296006" y="1557339"/>
            <a:ext cx="359999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7">
            <a:extLst>
              <a:ext uri="{FF2B5EF4-FFF2-40B4-BE49-F238E27FC236}">
                <a16:creationId xmlns:a16="http://schemas.microsoft.com/office/drawing/2014/main" id="{63B625D1-C56B-49E6-8BF2-56B3CBEBCCD2}"/>
              </a:ext>
            </a:extLst>
          </p:cNvPr>
          <p:cNvSpPr>
            <a:spLocks noGrp="1"/>
          </p:cNvSpPr>
          <p:nvPr>
            <p:ph sz="quarter" idx="16" hasCustomPrompt="1"/>
          </p:nvPr>
        </p:nvSpPr>
        <p:spPr>
          <a:xfrm>
            <a:off x="8184023" y="1557339"/>
            <a:ext cx="359999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825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2627985"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20" name="Content Placeholder 7">
            <a:extLst>
              <a:ext uri="{FF2B5EF4-FFF2-40B4-BE49-F238E27FC236}">
                <a16:creationId xmlns:a16="http://schemas.microsoft.com/office/drawing/2014/main" id="{9E2A3D55-5943-410D-96A3-FC8D4F145D1D}"/>
              </a:ext>
            </a:extLst>
          </p:cNvPr>
          <p:cNvSpPr>
            <a:spLocks noGrp="1"/>
          </p:cNvSpPr>
          <p:nvPr>
            <p:ph sz="quarter" idx="15" hasCustomPrompt="1"/>
          </p:nvPr>
        </p:nvSpPr>
        <p:spPr>
          <a:xfrm>
            <a:off x="3324001" y="1557339"/>
            <a:ext cx="2627985"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7">
            <a:extLst>
              <a:ext uri="{FF2B5EF4-FFF2-40B4-BE49-F238E27FC236}">
                <a16:creationId xmlns:a16="http://schemas.microsoft.com/office/drawing/2014/main" id="{35C92D97-697E-460C-8E0B-D8E468A48201}"/>
              </a:ext>
            </a:extLst>
          </p:cNvPr>
          <p:cNvSpPr>
            <a:spLocks noGrp="1"/>
          </p:cNvSpPr>
          <p:nvPr>
            <p:ph sz="quarter" idx="16" hasCustomPrompt="1"/>
          </p:nvPr>
        </p:nvSpPr>
        <p:spPr>
          <a:xfrm>
            <a:off x="6240014" y="1557339"/>
            <a:ext cx="2627985"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7">
            <a:extLst>
              <a:ext uri="{FF2B5EF4-FFF2-40B4-BE49-F238E27FC236}">
                <a16:creationId xmlns:a16="http://schemas.microsoft.com/office/drawing/2014/main" id="{2B17D75F-30BE-412A-B185-BDDAA8849794}"/>
              </a:ext>
            </a:extLst>
          </p:cNvPr>
          <p:cNvSpPr>
            <a:spLocks noGrp="1"/>
          </p:cNvSpPr>
          <p:nvPr>
            <p:ph sz="quarter" idx="17" hasCustomPrompt="1"/>
          </p:nvPr>
        </p:nvSpPr>
        <p:spPr>
          <a:xfrm>
            <a:off x="9156028" y="1557339"/>
            <a:ext cx="2627985"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374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ight Text Split Colour Conten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88028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76184A9-BB30-4A54-A2CA-770452E064AA}"/>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5544000" cy="504000"/>
          </a:xfrm>
        </p:spPr>
        <p:txBody>
          <a:bodyPr vert="horz"/>
          <a:lstStyle>
            <a:lvl1pPr>
              <a:defRPr/>
            </a:lvl1pPr>
          </a:lstStyle>
          <a:p>
            <a:r>
              <a:rPr lang="en-US"/>
              <a:t>Slide title</a:t>
            </a:r>
            <a:endParaRPr lang="en-GB"/>
          </a:p>
        </p:txBody>
      </p:sp>
      <p:sp>
        <p:nvSpPr>
          <p:cNvPr id="15" name="Text Placeholder 8">
            <a:extLst>
              <a:ext uri="{FF2B5EF4-FFF2-40B4-BE49-F238E27FC236}">
                <a16:creationId xmlns:a16="http://schemas.microsoft.com/office/drawing/2014/main" id="{9B5B36AF-6873-432E-8CE3-9CC1FB7F35DA}"/>
              </a:ext>
            </a:extLst>
          </p:cNvPr>
          <p:cNvSpPr>
            <a:spLocks noGrp="1"/>
          </p:cNvSpPr>
          <p:nvPr>
            <p:ph type="body" sz="quarter" idx="16"/>
          </p:nvPr>
        </p:nvSpPr>
        <p:spPr>
          <a:xfrm>
            <a:off x="6503988" y="1557338"/>
            <a:ext cx="5280024" cy="44751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09AC6F86-BE18-46E7-ADE1-4A49834A14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298245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rk Text Split Colour Conten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88028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76184A9-BB30-4A54-A2CA-770452E064AA}"/>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5544000" cy="504000"/>
          </a:xfrm>
        </p:spPr>
        <p:txBody>
          <a:bodyPr vert="horz"/>
          <a:lstStyle>
            <a:lvl1pPr>
              <a:defRPr/>
            </a:lvl1pPr>
          </a:lstStyle>
          <a:p>
            <a:r>
              <a:rPr lang="en-US"/>
              <a:t>Slide title</a:t>
            </a:r>
            <a:endParaRPr lang="en-GB"/>
          </a:p>
        </p:txBody>
      </p:sp>
      <p:sp>
        <p:nvSpPr>
          <p:cNvPr id="15" name="Text Placeholder 8">
            <a:extLst>
              <a:ext uri="{FF2B5EF4-FFF2-40B4-BE49-F238E27FC236}">
                <a16:creationId xmlns:a16="http://schemas.microsoft.com/office/drawing/2014/main" id="{9B5B36AF-6873-432E-8CE3-9CC1FB7F35DA}"/>
              </a:ext>
            </a:extLst>
          </p:cNvPr>
          <p:cNvSpPr>
            <a:spLocks noGrp="1"/>
          </p:cNvSpPr>
          <p:nvPr>
            <p:ph type="body" sz="quarter" idx="16"/>
          </p:nvPr>
        </p:nvSpPr>
        <p:spPr>
          <a:xfrm>
            <a:off x="6503988" y="1557338"/>
            <a:ext cx="5281200" cy="44751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340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ark Text Split Colour Content 2">
    <p:bg>
      <p:bgPr>
        <a:solidFill>
          <a:schemeClr val="accent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88028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76184A9-BB30-4A54-A2CA-770452E064AA}"/>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5544000" cy="504000"/>
          </a:xfrm>
        </p:spPr>
        <p:txBody>
          <a:bodyPr vert="horz"/>
          <a:lstStyle>
            <a:lvl1pPr>
              <a:defRPr/>
            </a:lvl1pPr>
          </a:lstStyle>
          <a:p>
            <a:r>
              <a:rPr lang="en-US"/>
              <a:t>Slide title</a:t>
            </a:r>
            <a:endParaRPr lang="en-GB"/>
          </a:p>
        </p:txBody>
      </p:sp>
      <p:sp>
        <p:nvSpPr>
          <p:cNvPr id="16" name="Text Placeholder 8">
            <a:extLst>
              <a:ext uri="{FF2B5EF4-FFF2-40B4-BE49-F238E27FC236}">
                <a16:creationId xmlns:a16="http://schemas.microsoft.com/office/drawing/2014/main" id="{CC8172E4-1414-4083-9B25-2FAEB30EB21B}"/>
              </a:ext>
            </a:extLst>
          </p:cNvPr>
          <p:cNvSpPr>
            <a:spLocks noGrp="1"/>
          </p:cNvSpPr>
          <p:nvPr>
            <p:ph type="body" sz="quarter" idx="16"/>
          </p:nvPr>
        </p:nvSpPr>
        <p:spPr>
          <a:xfrm>
            <a:off x="6503988" y="1557338"/>
            <a:ext cx="5281200" cy="4475162"/>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a:defRPr>
                <a:solidFill>
                  <a:schemeClr val="accent5"/>
                </a:solidFill>
              </a:defRPr>
            </a:lvl6pPr>
            <a:lvl7pPr>
              <a:defRPr>
                <a:solidFill>
                  <a:schemeClr val="accent5"/>
                </a:solidFill>
              </a:defRPr>
            </a:lvl7pPr>
            <a:lvl8pPr>
              <a:defRPr>
                <a:solidFill>
                  <a:schemeClr val="accent5"/>
                </a:solidFill>
              </a:defRPr>
            </a:lvl8pPr>
            <a:lvl9pPr>
              <a:defRPr>
                <a:solidFill>
                  <a:schemeClr val="accent5"/>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DBA355C1-C2F5-426A-818D-DC9441CEE64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401412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nd Light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32635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28989BE1-9B55-42A8-8F48-9CA4B5D5DE98}"/>
              </a:ext>
            </a:extLst>
          </p:cNvPr>
          <p:cNvSpPr>
            <a:spLocks noGrp="1"/>
          </p:cNvSpPr>
          <p:nvPr>
            <p:ph type="pic" sz="quarter" idx="19" hasCustomPrompt="1"/>
          </p:nvPr>
        </p:nvSpPr>
        <p:spPr>
          <a:xfrm>
            <a:off x="6096000" y="0"/>
            <a:ext cx="6096000" cy="6858000"/>
          </a:xfrm>
          <a:custGeom>
            <a:avLst/>
            <a:gdLst>
              <a:gd name="connsiteX0" fmla="*/ 5395808 w 6096000"/>
              <a:gd name="connsiteY0" fmla="*/ 6361245 h 6858000"/>
              <a:gd name="connsiteX1" fmla="*/ 5444847 w 6096000"/>
              <a:gd name="connsiteY1" fmla="*/ 6413168 h 6858000"/>
              <a:gd name="connsiteX2" fmla="*/ 5426554 w 6096000"/>
              <a:gd name="connsiteY2" fmla="*/ 6427130 h 6858000"/>
              <a:gd name="connsiteX3" fmla="*/ 5404448 w 6096000"/>
              <a:gd name="connsiteY3" fmla="*/ 6432117 h 6858000"/>
              <a:gd name="connsiteX4" fmla="*/ 5375965 w 6096000"/>
              <a:gd name="connsiteY4" fmla="*/ 6422730 h 6858000"/>
              <a:gd name="connsiteX5" fmla="*/ 5363691 w 6096000"/>
              <a:gd name="connsiteY5" fmla="*/ 6396681 h 6858000"/>
              <a:gd name="connsiteX6" fmla="*/ 5376204 w 6096000"/>
              <a:gd name="connsiteY6" fmla="*/ 6376323 h 6858000"/>
              <a:gd name="connsiteX7" fmla="*/ 5395808 w 6096000"/>
              <a:gd name="connsiteY7" fmla="*/ 6361245 h 6858000"/>
              <a:gd name="connsiteX8" fmla="*/ 5401707 w 6096000"/>
              <a:gd name="connsiteY8" fmla="*/ 6295478 h 6858000"/>
              <a:gd name="connsiteX9" fmla="*/ 5414756 w 6096000"/>
              <a:gd name="connsiteY9" fmla="*/ 6299291 h 6858000"/>
              <a:gd name="connsiteX10" fmla="*/ 5419940 w 6096000"/>
              <a:gd name="connsiteY10" fmla="*/ 6309851 h 6858000"/>
              <a:gd name="connsiteX11" fmla="*/ 5412551 w 6096000"/>
              <a:gd name="connsiteY11" fmla="*/ 6326631 h 6858000"/>
              <a:gd name="connsiteX12" fmla="*/ 5398847 w 6096000"/>
              <a:gd name="connsiteY12" fmla="*/ 6339479 h 6858000"/>
              <a:gd name="connsiteX13" fmla="*/ 5388359 w 6096000"/>
              <a:gd name="connsiteY13" fmla="*/ 6326278 h 6858000"/>
              <a:gd name="connsiteX14" fmla="*/ 5382758 w 6096000"/>
              <a:gd name="connsiteY14" fmla="*/ 6309910 h 6858000"/>
              <a:gd name="connsiteX15" fmla="*/ 5382758 w 6096000"/>
              <a:gd name="connsiteY15" fmla="*/ 6309851 h 6858000"/>
              <a:gd name="connsiteX16" fmla="*/ 5387942 w 6096000"/>
              <a:gd name="connsiteY16" fmla="*/ 6299056 h 6858000"/>
              <a:gd name="connsiteX17" fmla="*/ 5401707 w 6096000"/>
              <a:gd name="connsiteY17" fmla="*/ 6295478 h 6858000"/>
              <a:gd name="connsiteX18" fmla="*/ 5214311 w 6096000"/>
              <a:gd name="connsiteY18" fmla="*/ 6282629 h 6858000"/>
              <a:gd name="connsiteX19" fmla="*/ 5214311 w 6096000"/>
              <a:gd name="connsiteY19" fmla="*/ 6298822 h 6858000"/>
              <a:gd name="connsiteX20" fmla="*/ 5266628 w 6096000"/>
              <a:gd name="connsiteY20" fmla="*/ 6298822 h 6858000"/>
              <a:gd name="connsiteX21" fmla="*/ 5266628 w 6096000"/>
              <a:gd name="connsiteY21" fmla="*/ 6445200 h 6858000"/>
              <a:gd name="connsiteX22" fmla="*/ 5284206 w 6096000"/>
              <a:gd name="connsiteY22" fmla="*/ 6445200 h 6858000"/>
              <a:gd name="connsiteX23" fmla="*/ 5284444 w 6096000"/>
              <a:gd name="connsiteY23" fmla="*/ 6298822 h 6858000"/>
              <a:gd name="connsiteX24" fmla="*/ 5335867 w 6096000"/>
              <a:gd name="connsiteY24" fmla="*/ 6298822 h 6858000"/>
              <a:gd name="connsiteX25" fmla="*/ 5335867 w 6096000"/>
              <a:gd name="connsiteY25" fmla="*/ 6282629 h 6858000"/>
              <a:gd name="connsiteX26" fmla="*/ 5400992 w 6096000"/>
              <a:gd name="connsiteY26" fmla="*/ 6279402 h 6858000"/>
              <a:gd name="connsiteX27" fmla="*/ 5375608 w 6096000"/>
              <a:gd name="connsiteY27" fmla="*/ 6286736 h 6858000"/>
              <a:gd name="connsiteX28" fmla="*/ 5363989 w 6096000"/>
              <a:gd name="connsiteY28" fmla="*/ 6309734 h 6858000"/>
              <a:gd name="connsiteX29" fmla="*/ 5371199 w 6096000"/>
              <a:gd name="connsiteY29" fmla="*/ 6332086 h 6858000"/>
              <a:gd name="connsiteX30" fmla="*/ 5384784 w 6096000"/>
              <a:gd name="connsiteY30" fmla="*/ 6349277 h 6858000"/>
              <a:gd name="connsiteX31" fmla="*/ 5364346 w 6096000"/>
              <a:gd name="connsiteY31" fmla="*/ 6363768 h 6858000"/>
              <a:gd name="connsiteX32" fmla="*/ 5344921 w 6096000"/>
              <a:gd name="connsiteY32" fmla="*/ 6399849 h 6858000"/>
              <a:gd name="connsiteX33" fmla="*/ 5362439 w 6096000"/>
              <a:gd name="connsiteY33" fmla="*/ 6435286 h 6858000"/>
              <a:gd name="connsiteX34" fmla="*/ 5405699 w 6096000"/>
              <a:gd name="connsiteY34" fmla="*/ 6448427 h 6858000"/>
              <a:gd name="connsiteX35" fmla="*/ 5433705 w 6096000"/>
              <a:gd name="connsiteY35" fmla="*/ 6442149 h 6858000"/>
              <a:gd name="connsiteX36" fmla="*/ 5455394 w 6096000"/>
              <a:gd name="connsiteY36" fmla="*/ 6424842 h 6858000"/>
              <a:gd name="connsiteX37" fmla="*/ 5474164 w 6096000"/>
              <a:gd name="connsiteY37" fmla="*/ 6445201 h 6858000"/>
              <a:gd name="connsiteX38" fmla="*/ 5498952 w 6096000"/>
              <a:gd name="connsiteY38" fmla="*/ 6445376 h 6858000"/>
              <a:gd name="connsiteX39" fmla="*/ 5466656 w 6096000"/>
              <a:gd name="connsiteY39" fmla="*/ 6410703 h 6858000"/>
              <a:gd name="connsiteX40" fmla="*/ 5466715 w 6096000"/>
              <a:gd name="connsiteY40" fmla="*/ 6410586 h 6858000"/>
              <a:gd name="connsiteX41" fmla="*/ 5476607 w 6096000"/>
              <a:gd name="connsiteY41" fmla="*/ 6386297 h 6858000"/>
              <a:gd name="connsiteX42" fmla="*/ 5482446 w 6096000"/>
              <a:gd name="connsiteY42" fmla="*/ 6341767 h 6858000"/>
              <a:gd name="connsiteX43" fmla="*/ 5482625 w 6096000"/>
              <a:gd name="connsiteY43" fmla="*/ 6340183 h 6858000"/>
              <a:gd name="connsiteX44" fmla="*/ 5463796 w 6096000"/>
              <a:gd name="connsiteY44" fmla="*/ 6340183 h 6858000"/>
              <a:gd name="connsiteX45" fmla="*/ 5463796 w 6096000"/>
              <a:gd name="connsiteY45" fmla="*/ 6341650 h 6858000"/>
              <a:gd name="connsiteX46" fmla="*/ 5461233 w 6096000"/>
              <a:gd name="connsiteY46" fmla="*/ 6372627 h 6858000"/>
              <a:gd name="connsiteX47" fmla="*/ 5454441 w 6096000"/>
              <a:gd name="connsiteY47" fmla="*/ 6398324 h 6858000"/>
              <a:gd name="connsiteX48" fmla="*/ 5409751 w 6096000"/>
              <a:gd name="connsiteY48" fmla="*/ 6351331 h 6858000"/>
              <a:gd name="connsiteX49" fmla="*/ 5428878 w 6096000"/>
              <a:gd name="connsiteY49" fmla="*/ 6334199 h 6858000"/>
              <a:gd name="connsiteX50" fmla="*/ 5438650 w 6096000"/>
              <a:gd name="connsiteY50" fmla="*/ 6309147 h 6858000"/>
              <a:gd name="connsiteX51" fmla="*/ 5426554 w 6096000"/>
              <a:gd name="connsiteY51" fmla="*/ 6286267 h 6858000"/>
              <a:gd name="connsiteX52" fmla="*/ 5400992 w 6096000"/>
              <a:gd name="connsiteY52" fmla="*/ 6279402 h 6858000"/>
              <a:gd name="connsiteX53" fmla="*/ 5556991 w 6096000"/>
              <a:gd name="connsiteY53" fmla="*/ 6279226 h 6858000"/>
              <a:gd name="connsiteX54" fmla="*/ 5520584 w 6096000"/>
              <a:gd name="connsiteY54" fmla="*/ 6290549 h 6858000"/>
              <a:gd name="connsiteX55" fmla="*/ 5503841 w 6096000"/>
              <a:gd name="connsiteY55" fmla="*/ 6323756 h 6858000"/>
              <a:gd name="connsiteX56" fmla="*/ 5527973 w 6096000"/>
              <a:gd name="connsiteY56" fmla="*/ 6360365 h 6858000"/>
              <a:gd name="connsiteX57" fmla="*/ 5571113 w 6096000"/>
              <a:gd name="connsiteY57" fmla="*/ 6376382 h 6858000"/>
              <a:gd name="connsiteX58" fmla="*/ 5588513 w 6096000"/>
              <a:gd name="connsiteY58" fmla="*/ 6385769 h 6858000"/>
              <a:gd name="connsiteX59" fmla="*/ 5595484 w 6096000"/>
              <a:gd name="connsiteY59" fmla="*/ 6402841 h 6858000"/>
              <a:gd name="connsiteX60" fmla="*/ 5583329 w 6096000"/>
              <a:gd name="connsiteY60" fmla="*/ 6424608 h 6858000"/>
              <a:gd name="connsiteX61" fmla="*/ 5557885 w 6096000"/>
              <a:gd name="connsiteY61" fmla="*/ 6432058 h 6858000"/>
              <a:gd name="connsiteX62" fmla="*/ 5530178 w 6096000"/>
              <a:gd name="connsiteY62" fmla="*/ 6425723 h 6858000"/>
              <a:gd name="connsiteX63" fmla="*/ 5518737 w 6096000"/>
              <a:gd name="connsiteY63" fmla="*/ 6402137 h 6858000"/>
              <a:gd name="connsiteX64" fmla="*/ 5518737 w 6096000"/>
              <a:gd name="connsiteY64" fmla="*/ 6400670 h 6858000"/>
              <a:gd name="connsiteX65" fmla="*/ 5500027 w 6096000"/>
              <a:gd name="connsiteY65" fmla="*/ 6400670 h 6858000"/>
              <a:gd name="connsiteX66" fmla="*/ 5500027 w 6096000"/>
              <a:gd name="connsiteY66" fmla="*/ 6402137 h 6858000"/>
              <a:gd name="connsiteX67" fmla="*/ 5514804 w 6096000"/>
              <a:gd name="connsiteY67" fmla="*/ 6435227 h 6858000"/>
              <a:gd name="connsiteX68" fmla="*/ 5549841 w 6096000"/>
              <a:gd name="connsiteY68" fmla="*/ 6448251 h 6858000"/>
              <a:gd name="connsiteX69" fmla="*/ 5594412 w 6096000"/>
              <a:gd name="connsiteY69" fmla="*/ 6438336 h 6858000"/>
              <a:gd name="connsiteX70" fmla="*/ 5614194 w 6096000"/>
              <a:gd name="connsiteY70" fmla="*/ 6401550 h 6858000"/>
              <a:gd name="connsiteX71" fmla="*/ 5589406 w 6096000"/>
              <a:gd name="connsiteY71" fmla="*/ 6365059 h 6858000"/>
              <a:gd name="connsiteX72" fmla="*/ 5545253 w 6096000"/>
              <a:gd name="connsiteY72" fmla="*/ 6348983 h 6858000"/>
              <a:gd name="connsiteX73" fmla="*/ 5522551 w 6096000"/>
              <a:gd name="connsiteY73" fmla="*/ 6321820 h 6858000"/>
              <a:gd name="connsiteX74" fmla="*/ 5534408 w 6096000"/>
              <a:gd name="connsiteY74" fmla="*/ 6301872 h 6858000"/>
              <a:gd name="connsiteX75" fmla="*/ 5558779 w 6096000"/>
              <a:gd name="connsiteY75" fmla="*/ 6295477 h 6858000"/>
              <a:gd name="connsiteX76" fmla="*/ 5582077 w 6096000"/>
              <a:gd name="connsiteY76" fmla="*/ 6300347 h 6858000"/>
              <a:gd name="connsiteX77" fmla="*/ 5592564 w 6096000"/>
              <a:gd name="connsiteY77" fmla="*/ 6318769 h 6858000"/>
              <a:gd name="connsiteX78" fmla="*/ 5592564 w 6096000"/>
              <a:gd name="connsiteY78" fmla="*/ 6320236 h 6858000"/>
              <a:gd name="connsiteX79" fmla="*/ 5611453 w 6096000"/>
              <a:gd name="connsiteY79" fmla="*/ 6320236 h 6858000"/>
              <a:gd name="connsiteX80" fmla="*/ 5611275 w 6096000"/>
              <a:gd name="connsiteY80" fmla="*/ 6318593 h 6858000"/>
              <a:gd name="connsiteX81" fmla="*/ 5590777 w 6096000"/>
              <a:gd name="connsiteY81" fmla="*/ 6286736 h 6858000"/>
              <a:gd name="connsiteX82" fmla="*/ 5556991 w 6096000"/>
              <a:gd name="connsiteY82" fmla="*/ 6279226 h 6858000"/>
              <a:gd name="connsiteX83" fmla="*/ 0 w 6096000"/>
              <a:gd name="connsiteY83" fmla="*/ 0 h 6858000"/>
              <a:gd name="connsiteX84" fmla="*/ 6096000 w 6096000"/>
              <a:gd name="connsiteY84" fmla="*/ 0 h 6858000"/>
              <a:gd name="connsiteX85" fmla="*/ 6096000 w 6096000"/>
              <a:gd name="connsiteY85" fmla="*/ 6858000 h 6858000"/>
              <a:gd name="connsiteX86" fmla="*/ 0 w 6096000"/>
              <a:gd name="connsiteY8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96000" h="6858000">
                <a:moveTo>
                  <a:pt x="5395808" y="6361245"/>
                </a:moveTo>
                <a:lnTo>
                  <a:pt x="5444847" y="6413168"/>
                </a:lnTo>
                <a:cubicBezTo>
                  <a:pt x="5438829" y="6419269"/>
                  <a:pt x="5432692" y="6423962"/>
                  <a:pt x="5426554" y="6427130"/>
                </a:cubicBezTo>
                <a:cubicBezTo>
                  <a:pt x="5420119" y="6430416"/>
                  <a:pt x="5412671" y="6432117"/>
                  <a:pt x="5404448" y="6432117"/>
                </a:cubicBezTo>
                <a:cubicBezTo>
                  <a:pt x="5393186" y="6432117"/>
                  <a:pt x="5383592" y="6428949"/>
                  <a:pt x="5375965" y="6422730"/>
                </a:cubicBezTo>
                <a:cubicBezTo>
                  <a:pt x="5367802" y="6416159"/>
                  <a:pt x="5363691" y="6407359"/>
                  <a:pt x="5363691" y="6396681"/>
                </a:cubicBezTo>
                <a:cubicBezTo>
                  <a:pt x="5363691" y="6391108"/>
                  <a:pt x="5367921" y="6384244"/>
                  <a:pt x="5376204" y="6376323"/>
                </a:cubicBezTo>
                <a:cubicBezTo>
                  <a:pt x="5381567" y="6371337"/>
                  <a:pt x="5388121" y="6366291"/>
                  <a:pt x="5395808" y="6361245"/>
                </a:cubicBezTo>
                <a:close/>
                <a:moveTo>
                  <a:pt x="5401707" y="6295478"/>
                </a:moveTo>
                <a:cubicBezTo>
                  <a:pt x="5406772" y="6295478"/>
                  <a:pt x="5411181" y="6296769"/>
                  <a:pt x="5414756" y="6299291"/>
                </a:cubicBezTo>
                <a:cubicBezTo>
                  <a:pt x="5418272" y="6301755"/>
                  <a:pt x="5419940" y="6305217"/>
                  <a:pt x="5419940" y="6309851"/>
                </a:cubicBezTo>
                <a:cubicBezTo>
                  <a:pt x="5419940" y="6315484"/>
                  <a:pt x="5417437" y="6321174"/>
                  <a:pt x="5412551" y="6326631"/>
                </a:cubicBezTo>
                <a:cubicBezTo>
                  <a:pt x="5407963" y="6330972"/>
                  <a:pt x="5403435" y="6335255"/>
                  <a:pt x="5398847" y="6339479"/>
                </a:cubicBezTo>
                <a:cubicBezTo>
                  <a:pt x="5394199" y="6334434"/>
                  <a:pt x="5390683" y="6329974"/>
                  <a:pt x="5388359" y="6326278"/>
                </a:cubicBezTo>
                <a:cubicBezTo>
                  <a:pt x="5384605" y="6320412"/>
                  <a:pt x="5382758" y="6314838"/>
                  <a:pt x="5382758" y="6309910"/>
                </a:cubicBezTo>
                <a:lnTo>
                  <a:pt x="5382758" y="6309851"/>
                </a:lnTo>
                <a:cubicBezTo>
                  <a:pt x="5382758" y="6304923"/>
                  <a:pt x="5384427" y="6301344"/>
                  <a:pt x="5387942" y="6299056"/>
                </a:cubicBezTo>
                <a:cubicBezTo>
                  <a:pt x="5391577" y="6296651"/>
                  <a:pt x="5396225" y="6295478"/>
                  <a:pt x="5401707" y="6295478"/>
                </a:cubicBezTo>
                <a:close/>
                <a:moveTo>
                  <a:pt x="5214311" y="6282629"/>
                </a:moveTo>
                <a:lnTo>
                  <a:pt x="5214311" y="6298822"/>
                </a:lnTo>
                <a:lnTo>
                  <a:pt x="5266628" y="6298822"/>
                </a:lnTo>
                <a:lnTo>
                  <a:pt x="5266628" y="6445200"/>
                </a:lnTo>
                <a:lnTo>
                  <a:pt x="5284206" y="6445200"/>
                </a:lnTo>
                <a:lnTo>
                  <a:pt x="5284444" y="6298822"/>
                </a:lnTo>
                <a:lnTo>
                  <a:pt x="5335867" y="6298822"/>
                </a:lnTo>
                <a:lnTo>
                  <a:pt x="5335867" y="6282629"/>
                </a:lnTo>
                <a:close/>
                <a:moveTo>
                  <a:pt x="5400992" y="6279402"/>
                </a:moveTo>
                <a:cubicBezTo>
                  <a:pt x="5390862" y="6279402"/>
                  <a:pt x="5382460" y="6281867"/>
                  <a:pt x="5375608" y="6286736"/>
                </a:cubicBezTo>
                <a:cubicBezTo>
                  <a:pt x="5367921" y="6292309"/>
                  <a:pt x="5363989" y="6300053"/>
                  <a:pt x="5363989" y="6309734"/>
                </a:cubicBezTo>
                <a:cubicBezTo>
                  <a:pt x="5363989" y="6317067"/>
                  <a:pt x="5366432" y="6324577"/>
                  <a:pt x="5371199" y="6332086"/>
                </a:cubicBezTo>
                <a:cubicBezTo>
                  <a:pt x="5373642" y="6336076"/>
                  <a:pt x="5378230" y="6341884"/>
                  <a:pt x="5384784" y="6349277"/>
                </a:cubicBezTo>
                <a:cubicBezTo>
                  <a:pt x="5374952" y="6355672"/>
                  <a:pt x="5368040" y="6360541"/>
                  <a:pt x="5364346" y="6363768"/>
                </a:cubicBezTo>
                <a:cubicBezTo>
                  <a:pt x="5351475" y="6374504"/>
                  <a:pt x="5344921" y="6386590"/>
                  <a:pt x="5344921" y="6399849"/>
                </a:cubicBezTo>
                <a:cubicBezTo>
                  <a:pt x="5344921" y="6414576"/>
                  <a:pt x="5350820" y="6426485"/>
                  <a:pt x="5362439" y="6435286"/>
                </a:cubicBezTo>
                <a:cubicBezTo>
                  <a:pt x="5373940" y="6443968"/>
                  <a:pt x="5388538" y="6448427"/>
                  <a:pt x="5405699" y="6448427"/>
                </a:cubicBezTo>
                <a:cubicBezTo>
                  <a:pt x="5416067" y="6448427"/>
                  <a:pt x="5425482" y="6446315"/>
                  <a:pt x="5433705" y="6442149"/>
                </a:cubicBezTo>
                <a:cubicBezTo>
                  <a:pt x="5441451" y="6438219"/>
                  <a:pt x="5448720" y="6432411"/>
                  <a:pt x="5455394" y="6424842"/>
                </a:cubicBezTo>
                <a:lnTo>
                  <a:pt x="5474164" y="6445201"/>
                </a:lnTo>
                <a:lnTo>
                  <a:pt x="5498952" y="6445376"/>
                </a:lnTo>
                <a:lnTo>
                  <a:pt x="5466656" y="6410703"/>
                </a:lnTo>
                <a:lnTo>
                  <a:pt x="5466715" y="6410586"/>
                </a:lnTo>
                <a:cubicBezTo>
                  <a:pt x="5471125" y="6402959"/>
                  <a:pt x="5474462" y="6394745"/>
                  <a:pt x="5476607" y="6386297"/>
                </a:cubicBezTo>
                <a:cubicBezTo>
                  <a:pt x="5478275" y="6379608"/>
                  <a:pt x="5480241" y="6364589"/>
                  <a:pt x="5482446" y="6341767"/>
                </a:cubicBezTo>
                <a:lnTo>
                  <a:pt x="5482625" y="6340183"/>
                </a:lnTo>
                <a:lnTo>
                  <a:pt x="5463796" y="6340183"/>
                </a:lnTo>
                <a:lnTo>
                  <a:pt x="5463796" y="6341650"/>
                </a:lnTo>
                <a:cubicBezTo>
                  <a:pt x="5463796" y="6351154"/>
                  <a:pt x="5462902" y="6361597"/>
                  <a:pt x="5461233" y="6372627"/>
                </a:cubicBezTo>
                <a:cubicBezTo>
                  <a:pt x="5459684" y="6382660"/>
                  <a:pt x="5457420" y="6391284"/>
                  <a:pt x="5454441" y="6398324"/>
                </a:cubicBezTo>
                <a:lnTo>
                  <a:pt x="5409751" y="6351331"/>
                </a:lnTo>
                <a:cubicBezTo>
                  <a:pt x="5418570" y="6344642"/>
                  <a:pt x="5425005" y="6338892"/>
                  <a:pt x="5428878" y="6334199"/>
                </a:cubicBezTo>
                <a:cubicBezTo>
                  <a:pt x="5435373" y="6326454"/>
                  <a:pt x="5438650" y="6318007"/>
                  <a:pt x="5438650" y="6309147"/>
                </a:cubicBezTo>
                <a:cubicBezTo>
                  <a:pt x="5438650" y="6299408"/>
                  <a:pt x="5434598" y="6291723"/>
                  <a:pt x="5426554" y="6286267"/>
                </a:cubicBezTo>
                <a:cubicBezTo>
                  <a:pt x="5419761" y="6281690"/>
                  <a:pt x="5411121" y="6279402"/>
                  <a:pt x="5400992" y="6279402"/>
                </a:cubicBezTo>
                <a:close/>
                <a:moveTo>
                  <a:pt x="5556991" y="6279226"/>
                </a:moveTo>
                <a:cubicBezTo>
                  <a:pt x="5542810" y="6279226"/>
                  <a:pt x="5530535" y="6283040"/>
                  <a:pt x="5520584" y="6290549"/>
                </a:cubicBezTo>
                <a:cubicBezTo>
                  <a:pt x="5509442" y="6298880"/>
                  <a:pt x="5503841" y="6310086"/>
                  <a:pt x="5503841" y="6323756"/>
                </a:cubicBezTo>
                <a:cubicBezTo>
                  <a:pt x="5503841" y="6339128"/>
                  <a:pt x="5511944" y="6351448"/>
                  <a:pt x="5527973" y="6360365"/>
                </a:cubicBezTo>
                <a:cubicBezTo>
                  <a:pt x="5533514" y="6363358"/>
                  <a:pt x="5547577" y="6368637"/>
                  <a:pt x="5571113" y="6376382"/>
                </a:cubicBezTo>
                <a:cubicBezTo>
                  <a:pt x="5578621" y="6378787"/>
                  <a:pt x="5584520" y="6381955"/>
                  <a:pt x="5588513" y="6385769"/>
                </a:cubicBezTo>
                <a:cubicBezTo>
                  <a:pt x="5593101" y="6390169"/>
                  <a:pt x="5595484" y="6395919"/>
                  <a:pt x="5595484" y="6402841"/>
                </a:cubicBezTo>
                <a:cubicBezTo>
                  <a:pt x="5595484" y="6411994"/>
                  <a:pt x="5591492" y="6419093"/>
                  <a:pt x="5583329" y="6424608"/>
                </a:cubicBezTo>
                <a:cubicBezTo>
                  <a:pt x="5575999" y="6429536"/>
                  <a:pt x="5567419" y="6432058"/>
                  <a:pt x="5557885" y="6432058"/>
                </a:cubicBezTo>
                <a:cubicBezTo>
                  <a:pt x="5546087" y="6432058"/>
                  <a:pt x="5536792" y="6429946"/>
                  <a:pt x="5530178" y="6425723"/>
                </a:cubicBezTo>
                <a:cubicBezTo>
                  <a:pt x="5522491" y="6420676"/>
                  <a:pt x="5518737" y="6412992"/>
                  <a:pt x="5518737" y="6402137"/>
                </a:cubicBezTo>
                <a:lnTo>
                  <a:pt x="5518737" y="6400670"/>
                </a:lnTo>
                <a:lnTo>
                  <a:pt x="5500027" y="6400670"/>
                </a:lnTo>
                <a:lnTo>
                  <a:pt x="5500027" y="6402137"/>
                </a:lnTo>
                <a:cubicBezTo>
                  <a:pt x="5500027" y="6415397"/>
                  <a:pt x="5504973" y="6426544"/>
                  <a:pt x="5514804" y="6435227"/>
                </a:cubicBezTo>
                <a:cubicBezTo>
                  <a:pt x="5524517" y="6443851"/>
                  <a:pt x="5536315" y="6448251"/>
                  <a:pt x="5549841" y="6448251"/>
                </a:cubicBezTo>
                <a:cubicBezTo>
                  <a:pt x="5568432" y="6448251"/>
                  <a:pt x="5583448" y="6444907"/>
                  <a:pt x="5594412" y="6438336"/>
                </a:cubicBezTo>
                <a:cubicBezTo>
                  <a:pt x="5607580" y="6430416"/>
                  <a:pt x="5614194" y="6418037"/>
                  <a:pt x="5614194" y="6401550"/>
                </a:cubicBezTo>
                <a:cubicBezTo>
                  <a:pt x="5614194" y="6385065"/>
                  <a:pt x="5605912" y="6373331"/>
                  <a:pt x="5589406" y="6365059"/>
                </a:cubicBezTo>
                <a:cubicBezTo>
                  <a:pt x="5574629" y="6359779"/>
                  <a:pt x="5559732" y="6354381"/>
                  <a:pt x="5545253" y="6348983"/>
                </a:cubicBezTo>
                <a:cubicBezTo>
                  <a:pt x="5529999" y="6342530"/>
                  <a:pt x="5522551" y="6333671"/>
                  <a:pt x="5522551" y="6321820"/>
                </a:cubicBezTo>
                <a:cubicBezTo>
                  <a:pt x="5522551" y="6313313"/>
                  <a:pt x="5526424" y="6306801"/>
                  <a:pt x="5534408" y="6301872"/>
                </a:cubicBezTo>
                <a:cubicBezTo>
                  <a:pt x="5541320" y="6297648"/>
                  <a:pt x="5549543" y="6295477"/>
                  <a:pt x="5558779" y="6295477"/>
                </a:cubicBezTo>
                <a:cubicBezTo>
                  <a:pt x="5568015" y="6295477"/>
                  <a:pt x="5576178" y="6297120"/>
                  <a:pt x="5582077" y="6300347"/>
                </a:cubicBezTo>
                <a:cubicBezTo>
                  <a:pt x="5589108" y="6304219"/>
                  <a:pt x="5592564" y="6310262"/>
                  <a:pt x="5592564" y="6318769"/>
                </a:cubicBezTo>
                <a:lnTo>
                  <a:pt x="5592564" y="6320236"/>
                </a:lnTo>
                <a:lnTo>
                  <a:pt x="5611453" y="6320236"/>
                </a:lnTo>
                <a:lnTo>
                  <a:pt x="5611275" y="6318593"/>
                </a:lnTo>
                <a:cubicBezTo>
                  <a:pt x="5609547" y="6304160"/>
                  <a:pt x="5602694" y="6293424"/>
                  <a:pt x="5590777" y="6286736"/>
                </a:cubicBezTo>
                <a:cubicBezTo>
                  <a:pt x="5581899" y="6281749"/>
                  <a:pt x="5570518" y="6279226"/>
                  <a:pt x="5556991" y="6279226"/>
                </a:cubicBez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2" name="Text Placeholder 2">
            <a:extLst>
              <a:ext uri="{FF2B5EF4-FFF2-40B4-BE49-F238E27FC236}">
                <a16:creationId xmlns:a16="http://schemas.microsoft.com/office/drawing/2014/main" id="{E91A4E5E-E7CF-44D6-BEAC-C4B5532C763A}"/>
              </a:ext>
            </a:extLst>
          </p:cNvPr>
          <p:cNvSpPr>
            <a:spLocks noGrp="1"/>
          </p:cNvSpPr>
          <p:nvPr>
            <p:ph type="body" sz="quarter" idx="16"/>
          </p:nvPr>
        </p:nvSpPr>
        <p:spPr>
          <a:xfrm>
            <a:off x="407988" y="1557339"/>
            <a:ext cx="5543550" cy="447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356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and Dark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320647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14">
            <a:extLst>
              <a:ext uri="{FF2B5EF4-FFF2-40B4-BE49-F238E27FC236}">
                <a16:creationId xmlns:a16="http://schemas.microsoft.com/office/drawing/2014/main" id="{AD20AE9B-DE4A-4B30-8CFD-76040C737F90}"/>
              </a:ext>
            </a:extLst>
          </p:cNvPr>
          <p:cNvSpPr>
            <a:spLocks noGrp="1"/>
          </p:cNvSpPr>
          <p:nvPr>
            <p:ph type="pic" sz="quarter" idx="19" hasCustomPrompt="1"/>
          </p:nvPr>
        </p:nvSpPr>
        <p:spPr>
          <a:xfrm>
            <a:off x="6096000" y="0"/>
            <a:ext cx="6096000" cy="6858000"/>
          </a:xfrm>
          <a:custGeom>
            <a:avLst/>
            <a:gdLst>
              <a:gd name="connsiteX0" fmla="*/ 5395808 w 6096000"/>
              <a:gd name="connsiteY0" fmla="*/ 6361245 h 6858000"/>
              <a:gd name="connsiteX1" fmla="*/ 5444847 w 6096000"/>
              <a:gd name="connsiteY1" fmla="*/ 6413168 h 6858000"/>
              <a:gd name="connsiteX2" fmla="*/ 5426554 w 6096000"/>
              <a:gd name="connsiteY2" fmla="*/ 6427130 h 6858000"/>
              <a:gd name="connsiteX3" fmla="*/ 5404448 w 6096000"/>
              <a:gd name="connsiteY3" fmla="*/ 6432117 h 6858000"/>
              <a:gd name="connsiteX4" fmla="*/ 5375965 w 6096000"/>
              <a:gd name="connsiteY4" fmla="*/ 6422730 h 6858000"/>
              <a:gd name="connsiteX5" fmla="*/ 5363691 w 6096000"/>
              <a:gd name="connsiteY5" fmla="*/ 6396681 h 6858000"/>
              <a:gd name="connsiteX6" fmla="*/ 5376204 w 6096000"/>
              <a:gd name="connsiteY6" fmla="*/ 6376323 h 6858000"/>
              <a:gd name="connsiteX7" fmla="*/ 5395808 w 6096000"/>
              <a:gd name="connsiteY7" fmla="*/ 6361245 h 6858000"/>
              <a:gd name="connsiteX8" fmla="*/ 5401707 w 6096000"/>
              <a:gd name="connsiteY8" fmla="*/ 6295478 h 6858000"/>
              <a:gd name="connsiteX9" fmla="*/ 5414756 w 6096000"/>
              <a:gd name="connsiteY9" fmla="*/ 6299291 h 6858000"/>
              <a:gd name="connsiteX10" fmla="*/ 5419940 w 6096000"/>
              <a:gd name="connsiteY10" fmla="*/ 6309851 h 6858000"/>
              <a:gd name="connsiteX11" fmla="*/ 5412551 w 6096000"/>
              <a:gd name="connsiteY11" fmla="*/ 6326631 h 6858000"/>
              <a:gd name="connsiteX12" fmla="*/ 5398847 w 6096000"/>
              <a:gd name="connsiteY12" fmla="*/ 6339479 h 6858000"/>
              <a:gd name="connsiteX13" fmla="*/ 5388359 w 6096000"/>
              <a:gd name="connsiteY13" fmla="*/ 6326278 h 6858000"/>
              <a:gd name="connsiteX14" fmla="*/ 5382758 w 6096000"/>
              <a:gd name="connsiteY14" fmla="*/ 6309910 h 6858000"/>
              <a:gd name="connsiteX15" fmla="*/ 5382758 w 6096000"/>
              <a:gd name="connsiteY15" fmla="*/ 6309851 h 6858000"/>
              <a:gd name="connsiteX16" fmla="*/ 5387942 w 6096000"/>
              <a:gd name="connsiteY16" fmla="*/ 6299056 h 6858000"/>
              <a:gd name="connsiteX17" fmla="*/ 5401707 w 6096000"/>
              <a:gd name="connsiteY17" fmla="*/ 6295478 h 6858000"/>
              <a:gd name="connsiteX18" fmla="*/ 5214311 w 6096000"/>
              <a:gd name="connsiteY18" fmla="*/ 6282629 h 6858000"/>
              <a:gd name="connsiteX19" fmla="*/ 5214311 w 6096000"/>
              <a:gd name="connsiteY19" fmla="*/ 6298822 h 6858000"/>
              <a:gd name="connsiteX20" fmla="*/ 5266628 w 6096000"/>
              <a:gd name="connsiteY20" fmla="*/ 6298822 h 6858000"/>
              <a:gd name="connsiteX21" fmla="*/ 5266628 w 6096000"/>
              <a:gd name="connsiteY21" fmla="*/ 6445200 h 6858000"/>
              <a:gd name="connsiteX22" fmla="*/ 5284206 w 6096000"/>
              <a:gd name="connsiteY22" fmla="*/ 6445200 h 6858000"/>
              <a:gd name="connsiteX23" fmla="*/ 5284444 w 6096000"/>
              <a:gd name="connsiteY23" fmla="*/ 6298822 h 6858000"/>
              <a:gd name="connsiteX24" fmla="*/ 5335867 w 6096000"/>
              <a:gd name="connsiteY24" fmla="*/ 6298822 h 6858000"/>
              <a:gd name="connsiteX25" fmla="*/ 5335867 w 6096000"/>
              <a:gd name="connsiteY25" fmla="*/ 6282629 h 6858000"/>
              <a:gd name="connsiteX26" fmla="*/ 5400992 w 6096000"/>
              <a:gd name="connsiteY26" fmla="*/ 6279402 h 6858000"/>
              <a:gd name="connsiteX27" fmla="*/ 5375608 w 6096000"/>
              <a:gd name="connsiteY27" fmla="*/ 6286736 h 6858000"/>
              <a:gd name="connsiteX28" fmla="*/ 5363989 w 6096000"/>
              <a:gd name="connsiteY28" fmla="*/ 6309734 h 6858000"/>
              <a:gd name="connsiteX29" fmla="*/ 5371199 w 6096000"/>
              <a:gd name="connsiteY29" fmla="*/ 6332086 h 6858000"/>
              <a:gd name="connsiteX30" fmla="*/ 5384784 w 6096000"/>
              <a:gd name="connsiteY30" fmla="*/ 6349277 h 6858000"/>
              <a:gd name="connsiteX31" fmla="*/ 5364346 w 6096000"/>
              <a:gd name="connsiteY31" fmla="*/ 6363768 h 6858000"/>
              <a:gd name="connsiteX32" fmla="*/ 5344921 w 6096000"/>
              <a:gd name="connsiteY32" fmla="*/ 6399849 h 6858000"/>
              <a:gd name="connsiteX33" fmla="*/ 5362439 w 6096000"/>
              <a:gd name="connsiteY33" fmla="*/ 6435286 h 6858000"/>
              <a:gd name="connsiteX34" fmla="*/ 5405699 w 6096000"/>
              <a:gd name="connsiteY34" fmla="*/ 6448427 h 6858000"/>
              <a:gd name="connsiteX35" fmla="*/ 5433705 w 6096000"/>
              <a:gd name="connsiteY35" fmla="*/ 6442149 h 6858000"/>
              <a:gd name="connsiteX36" fmla="*/ 5455394 w 6096000"/>
              <a:gd name="connsiteY36" fmla="*/ 6424842 h 6858000"/>
              <a:gd name="connsiteX37" fmla="*/ 5474164 w 6096000"/>
              <a:gd name="connsiteY37" fmla="*/ 6445201 h 6858000"/>
              <a:gd name="connsiteX38" fmla="*/ 5498952 w 6096000"/>
              <a:gd name="connsiteY38" fmla="*/ 6445376 h 6858000"/>
              <a:gd name="connsiteX39" fmla="*/ 5466656 w 6096000"/>
              <a:gd name="connsiteY39" fmla="*/ 6410703 h 6858000"/>
              <a:gd name="connsiteX40" fmla="*/ 5466715 w 6096000"/>
              <a:gd name="connsiteY40" fmla="*/ 6410586 h 6858000"/>
              <a:gd name="connsiteX41" fmla="*/ 5476607 w 6096000"/>
              <a:gd name="connsiteY41" fmla="*/ 6386297 h 6858000"/>
              <a:gd name="connsiteX42" fmla="*/ 5482446 w 6096000"/>
              <a:gd name="connsiteY42" fmla="*/ 6341767 h 6858000"/>
              <a:gd name="connsiteX43" fmla="*/ 5482625 w 6096000"/>
              <a:gd name="connsiteY43" fmla="*/ 6340183 h 6858000"/>
              <a:gd name="connsiteX44" fmla="*/ 5463796 w 6096000"/>
              <a:gd name="connsiteY44" fmla="*/ 6340183 h 6858000"/>
              <a:gd name="connsiteX45" fmla="*/ 5463796 w 6096000"/>
              <a:gd name="connsiteY45" fmla="*/ 6341650 h 6858000"/>
              <a:gd name="connsiteX46" fmla="*/ 5461233 w 6096000"/>
              <a:gd name="connsiteY46" fmla="*/ 6372627 h 6858000"/>
              <a:gd name="connsiteX47" fmla="*/ 5454441 w 6096000"/>
              <a:gd name="connsiteY47" fmla="*/ 6398324 h 6858000"/>
              <a:gd name="connsiteX48" fmla="*/ 5409751 w 6096000"/>
              <a:gd name="connsiteY48" fmla="*/ 6351331 h 6858000"/>
              <a:gd name="connsiteX49" fmla="*/ 5428878 w 6096000"/>
              <a:gd name="connsiteY49" fmla="*/ 6334199 h 6858000"/>
              <a:gd name="connsiteX50" fmla="*/ 5438650 w 6096000"/>
              <a:gd name="connsiteY50" fmla="*/ 6309147 h 6858000"/>
              <a:gd name="connsiteX51" fmla="*/ 5426554 w 6096000"/>
              <a:gd name="connsiteY51" fmla="*/ 6286267 h 6858000"/>
              <a:gd name="connsiteX52" fmla="*/ 5400992 w 6096000"/>
              <a:gd name="connsiteY52" fmla="*/ 6279402 h 6858000"/>
              <a:gd name="connsiteX53" fmla="*/ 5556991 w 6096000"/>
              <a:gd name="connsiteY53" fmla="*/ 6279226 h 6858000"/>
              <a:gd name="connsiteX54" fmla="*/ 5520584 w 6096000"/>
              <a:gd name="connsiteY54" fmla="*/ 6290549 h 6858000"/>
              <a:gd name="connsiteX55" fmla="*/ 5503841 w 6096000"/>
              <a:gd name="connsiteY55" fmla="*/ 6323756 h 6858000"/>
              <a:gd name="connsiteX56" fmla="*/ 5527973 w 6096000"/>
              <a:gd name="connsiteY56" fmla="*/ 6360365 h 6858000"/>
              <a:gd name="connsiteX57" fmla="*/ 5571113 w 6096000"/>
              <a:gd name="connsiteY57" fmla="*/ 6376382 h 6858000"/>
              <a:gd name="connsiteX58" fmla="*/ 5588513 w 6096000"/>
              <a:gd name="connsiteY58" fmla="*/ 6385769 h 6858000"/>
              <a:gd name="connsiteX59" fmla="*/ 5595484 w 6096000"/>
              <a:gd name="connsiteY59" fmla="*/ 6402841 h 6858000"/>
              <a:gd name="connsiteX60" fmla="*/ 5583329 w 6096000"/>
              <a:gd name="connsiteY60" fmla="*/ 6424608 h 6858000"/>
              <a:gd name="connsiteX61" fmla="*/ 5557885 w 6096000"/>
              <a:gd name="connsiteY61" fmla="*/ 6432058 h 6858000"/>
              <a:gd name="connsiteX62" fmla="*/ 5530178 w 6096000"/>
              <a:gd name="connsiteY62" fmla="*/ 6425723 h 6858000"/>
              <a:gd name="connsiteX63" fmla="*/ 5518737 w 6096000"/>
              <a:gd name="connsiteY63" fmla="*/ 6402137 h 6858000"/>
              <a:gd name="connsiteX64" fmla="*/ 5518737 w 6096000"/>
              <a:gd name="connsiteY64" fmla="*/ 6400670 h 6858000"/>
              <a:gd name="connsiteX65" fmla="*/ 5500027 w 6096000"/>
              <a:gd name="connsiteY65" fmla="*/ 6400670 h 6858000"/>
              <a:gd name="connsiteX66" fmla="*/ 5500027 w 6096000"/>
              <a:gd name="connsiteY66" fmla="*/ 6402137 h 6858000"/>
              <a:gd name="connsiteX67" fmla="*/ 5514804 w 6096000"/>
              <a:gd name="connsiteY67" fmla="*/ 6435227 h 6858000"/>
              <a:gd name="connsiteX68" fmla="*/ 5549841 w 6096000"/>
              <a:gd name="connsiteY68" fmla="*/ 6448251 h 6858000"/>
              <a:gd name="connsiteX69" fmla="*/ 5594412 w 6096000"/>
              <a:gd name="connsiteY69" fmla="*/ 6438336 h 6858000"/>
              <a:gd name="connsiteX70" fmla="*/ 5614194 w 6096000"/>
              <a:gd name="connsiteY70" fmla="*/ 6401550 h 6858000"/>
              <a:gd name="connsiteX71" fmla="*/ 5589406 w 6096000"/>
              <a:gd name="connsiteY71" fmla="*/ 6365059 h 6858000"/>
              <a:gd name="connsiteX72" fmla="*/ 5545253 w 6096000"/>
              <a:gd name="connsiteY72" fmla="*/ 6348983 h 6858000"/>
              <a:gd name="connsiteX73" fmla="*/ 5522551 w 6096000"/>
              <a:gd name="connsiteY73" fmla="*/ 6321820 h 6858000"/>
              <a:gd name="connsiteX74" fmla="*/ 5534408 w 6096000"/>
              <a:gd name="connsiteY74" fmla="*/ 6301872 h 6858000"/>
              <a:gd name="connsiteX75" fmla="*/ 5558779 w 6096000"/>
              <a:gd name="connsiteY75" fmla="*/ 6295477 h 6858000"/>
              <a:gd name="connsiteX76" fmla="*/ 5582077 w 6096000"/>
              <a:gd name="connsiteY76" fmla="*/ 6300347 h 6858000"/>
              <a:gd name="connsiteX77" fmla="*/ 5592564 w 6096000"/>
              <a:gd name="connsiteY77" fmla="*/ 6318769 h 6858000"/>
              <a:gd name="connsiteX78" fmla="*/ 5592564 w 6096000"/>
              <a:gd name="connsiteY78" fmla="*/ 6320236 h 6858000"/>
              <a:gd name="connsiteX79" fmla="*/ 5611453 w 6096000"/>
              <a:gd name="connsiteY79" fmla="*/ 6320236 h 6858000"/>
              <a:gd name="connsiteX80" fmla="*/ 5611275 w 6096000"/>
              <a:gd name="connsiteY80" fmla="*/ 6318593 h 6858000"/>
              <a:gd name="connsiteX81" fmla="*/ 5590777 w 6096000"/>
              <a:gd name="connsiteY81" fmla="*/ 6286736 h 6858000"/>
              <a:gd name="connsiteX82" fmla="*/ 5556991 w 6096000"/>
              <a:gd name="connsiteY82" fmla="*/ 6279226 h 6858000"/>
              <a:gd name="connsiteX83" fmla="*/ 0 w 6096000"/>
              <a:gd name="connsiteY83" fmla="*/ 0 h 6858000"/>
              <a:gd name="connsiteX84" fmla="*/ 6096000 w 6096000"/>
              <a:gd name="connsiteY84" fmla="*/ 0 h 6858000"/>
              <a:gd name="connsiteX85" fmla="*/ 6096000 w 6096000"/>
              <a:gd name="connsiteY85" fmla="*/ 6858000 h 6858000"/>
              <a:gd name="connsiteX86" fmla="*/ 0 w 6096000"/>
              <a:gd name="connsiteY8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96000" h="6858000">
                <a:moveTo>
                  <a:pt x="5395808" y="6361245"/>
                </a:moveTo>
                <a:lnTo>
                  <a:pt x="5444847" y="6413168"/>
                </a:lnTo>
                <a:cubicBezTo>
                  <a:pt x="5438829" y="6419269"/>
                  <a:pt x="5432692" y="6423962"/>
                  <a:pt x="5426554" y="6427130"/>
                </a:cubicBezTo>
                <a:cubicBezTo>
                  <a:pt x="5420119" y="6430416"/>
                  <a:pt x="5412671" y="6432117"/>
                  <a:pt x="5404448" y="6432117"/>
                </a:cubicBezTo>
                <a:cubicBezTo>
                  <a:pt x="5393186" y="6432117"/>
                  <a:pt x="5383592" y="6428949"/>
                  <a:pt x="5375965" y="6422730"/>
                </a:cubicBezTo>
                <a:cubicBezTo>
                  <a:pt x="5367802" y="6416159"/>
                  <a:pt x="5363691" y="6407359"/>
                  <a:pt x="5363691" y="6396681"/>
                </a:cubicBezTo>
                <a:cubicBezTo>
                  <a:pt x="5363691" y="6391108"/>
                  <a:pt x="5367921" y="6384244"/>
                  <a:pt x="5376204" y="6376323"/>
                </a:cubicBezTo>
                <a:cubicBezTo>
                  <a:pt x="5381567" y="6371337"/>
                  <a:pt x="5388121" y="6366291"/>
                  <a:pt x="5395808" y="6361245"/>
                </a:cubicBezTo>
                <a:close/>
                <a:moveTo>
                  <a:pt x="5401707" y="6295478"/>
                </a:moveTo>
                <a:cubicBezTo>
                  <a:pt x="5406772" y="6295478"/>
                  <a:pt x="5411181" y="6296769"/>
                  <a:pt x="5414756" y="6299291"/>
                </a:cubicBezTo>
                <a:cubicBezTo>
                  <a:pt x="5418272" y="6301755"/>
                  <a:pt x="5419940" y="6305217"/>
                  <a:pt x="5419940" y="6309851"/>
                </a:cubicBezTo>
                <a:cubicBezTo>
                  <a:pt x="5419940" y="6315484"/>
                  <a:pt x="5417437" y="6321174"/>
                  <a:pt x="5412551" y="6326631"/>
                </a:cubicBezTo>
                <a:cubicBezTo>
                  <a:pt x="5407963" y="6330972"/>
                  <a:pt x="5403435" y="6335255"/>
                  <a:pt x="5398847" y="6339479"/>
                </a:cubicBezTo>
                <a:cubicBezTo>
                  <a:pt x="5394199" y="6334434"/>
                  <a:pt x="5390683" y="6329974"/>
                  <a:pt x="5388359" y="6326278"/>
                </a:cubicBezTo>
                <a:cubicBezTo>
                  <a:pt x="5384605" y="6320412"/>
                  <a:pt x="5382758" y="6314838"/>
                  <a:pt x="5382758" y="6309910"/>
                </a:cubicBezTo>
                <a:lnTo>
                  <a:pt x="5382758" y="6309851"/>
                </a:lnTo>
                <a:cubicBezTo>
                  <a:pt x="5382758" y="6304923"/>
                  <a:pt x="5384427" y="6301344"/>
                  <a:pt x="5387942" y="6299056"/>
                </a:cubicBezTo>
                <a:cubicBezTo>
                  <a:pt x="5391577" y="6296651"/>
                  <a:pt x="5396225" y="6295478"/>
                  <a:pt x="5401707" y="6295478"/>
                </a:cubicBezTo>
                <a:close/>
                <a:moveTo>
                  <a:pt x="5214311" y="6282629"/>
                </a:moveTo>
                <a:lnTo>
                  <a:pt x="5214311" y="6298822"/>
                </a:lnTo>
                <a:lnTo>
                  <a:pt x="5266628" y="6298822"/>
                </a:lnTo>
                <a:lnTo>
                  <a:pt x="5266628" y="6445200"/>
                </a:lnTo>
                <a:lnTo>
                  <a:pt x="5284206" y="6445200"/>
                </a:lnTo>
                <a:lnTo>
                  <a:pt x="5284444" y="6298822"/>
                </a:lnTo>
                <a:lnTo>
                  <a:pt x="5335867" y="6298822"/>
                </a:lnTo>
                <a:lnTo>
                  <a:pt x="5335867" y="6282629"/>
                </a:lnTo>
                <a:close/>
                <a:moveTo>
                  <a:pt x="5400992" y="6279402"/>
                </a:moveTo>
                <a:cubicBezTo>
                  <a:pt x="5390862" y="6279402"/>
                  <a:pt x="5382460" y="6281867"/>
                  <a:pt x="5375608" y="6286736"/>
                </a:cubicBezTo>
                <a:cubicBezTo>
                  <a:pt x="5367921" y="6292309"/>
                  <a:pt x="5363989" y="6300053"/>
                  <a:pt x="5363989" y="6309734"/>
                </a:cubicBezTo>
                <a:cubicBezTo>
                  <a:pt x="5363989" y="6317067"/>
                  <a:pt x="5366432" y="6324577"/>
                  <a:pt x="5371199" y="6332086"/>
                </a:cubicBezTo>
                <a:cubicBezTo>
                  <a:pt x="5373642" y="6336076"/>
                  <a:pt x="5378230" y="6341884"/>
                  <a:pt x="5384784" y="6349277"/>
                </a:cubicBezTo>
                <a:cubicBezTo>
                  <a:pt x="5374952" y="6355672"/>
                  <a:pt x="5368040" y="6360541"/>
                  <a:pt x="5364346" y="6363768"/>
                </a:cubicBezTo>
                <a:cubicBezTo>
                  <a:pt x="5351475" y="6374504"/>
                  <a:pt x="5344921" y="6386590"/>
                  <a:pt x="5344921" y="6399849"/>
                </a:cubicBezTo>
                <a:cubicBezTo>
                  <a:pt x="5344921" y="6414576"/>
                  <a:pt x="5350820" y="6426485"/>
                  <a:pt x="5362439" y="6435286"/>
                </a:cubicBezTo>
                <a:cubicBezTo>
                  <a:pt x="5373940" y="6443968"/>
                  <a:pt x="5388538" y="6448427"/>
                  <a:pt x="5405699" y="6448427"/>
                </a:cubicBezTo>
                <a:cubicBezTo>
                  <a:pt x="5416067" y="6448427"/>
                  <a:pt x="5425482" y="6446315"/>
                  <a:pt x="5433705" y="6442149"/>
                </a:cubicBezTo>
                <a:cubicBezTo>
                  <a:pt x="5441451" y="6438219"/>
                  <a:pt x="5448720" y="6432411"/>
                  <a:pt x="5455394" y="6424842"/>
                </a:cubicBezTo>
                <a:lnTo>
                  <a:pt x="5474164" y="6445201"/>
                </a:lnTo>
                <a:lnTo>
                  <a:pt x="5498952" y="6445376"/>
                </a:lnTo>
                <a:lnTo>
                  <a:pt x="5466656" y="6410703"/>
                </a:lnTo>
                <a:lnTo>
                  <a:pt x="5466715" y="6410586"/>
                </a:lnTo>
                <a:cubicBezTo>
                  <a:pt x="5471125" y="6402959"/>
                  <a:pt x="5474462" y="6394745"/>
                  <a:pt x="5476607" y="6386297"/>
                </a:cubicBezTo>
                <a:cubicBezTo>
                  <a:pt x="5478275" y="6379608"/>
                  <a:pt x="5480241" y="6364589"/>
                  <a:pt x="5482446" y="6341767"/>
                </a:cubicBezTo>
                <a:lnTo>
                  <a:pt x="5482625" y="6340183"/>
                </a:lnTo>
                <a:lnTo>
                  <a:pt x="5463796" y="6340183"/>
                </a:lnTo>
                <a:lnTo>
                  <a:pt x="5463796" y="6341650"/>
                </a:lnTo>
                <a:cubicBezTo>
                  <a:pt x="5463796" y="6351154"/>
                  <a:pt x="5462902" y="6361597"/>
                  <a:pt x="5461233" y="6372627"/>
                </a:cubicBezTo>
                <a:cubicBezTo>
                  <a:pt x="5459684" y="6382660"/>
                  <a:pt x="5457420" y="6391284"/>
                  <a:pt x="5454441" y="6398324"/>
                </a:cubicBezTo>
                <a:lnTo>
                  <a:pt x="5409751" y="6351331"/>
                </a:lnTo>
                <a:cubicBezTo>
                  <a:pt x="5418570" y="6344642"/>
                  <a:pt x="5425005" y="6338892"/>
                  <a:pt x="5428878" y="6334199"/>
                </a:cubicBezTo>
                <a:cubicBezTo>
                  <a:pt x="5435373" y="6326454"/>
                  <a:pt x="5438650" y="6318007"/>
                  <a:pt x="5438650" y="6309147"/>
                </a:cubicBezTo>
                <a:cubicBezTo>
                  <a:pt x="5438650" y="6299408"/>
                  <a:pt x="5434598" y="6291723"/>
                  <a:pt x="5426554" y="6286267"/>
                </a:cubicBezTo>
                <a:cubicBezTo>
                  <a:pt x="5419761" y="6281690"/>
                  <a:pt x="5411121" y="6279402"/>
                  <a:pt x="5400992" y="6279402"/>
                </a:cubicBezTo>
                <a:close/>
                <a:moveTo>
                  <a:pt x="5556991" y="6279226"/>
                </a:moveTo>
                <a:cubicBezTo>
                  <a:pt x="5542810" y="6279226"/>
                  <a:pt x="5530535" y="6283040"/>
                  <a:pt x="5520584" y="6290549"/>
                </a:cubicBezTo>
                <a:cubicBezTo>
                  <a:pt x="5509442" y="6298880"/>
                  <a:pt x="5503841" y="6310086"/>
                  <a:pt x="5503841" y="6323756"/>
                </a:cubicBezTo>
                <a:cubicBezTo>
                  <a:pt x="5503841" y="6339128"/>
                  <a:pt x="5511944" y="6351448"/>
                  <a:pt x="5527973" y="6360365"/>
                </a:cubicBezTo>
                <a:cubicBezTo>
                  <a:pt x="5533514" y="6363358"/>
                  <a:pt x="5547577" y="6368637"/>
                  <a:pt x="5571113" y="6376382"/>
                </a:cubicBezTo>
                <a:cubicBezTo>
                  <a:pt x="5578621" y="6378787"/>
                  <a:pt x="5584520" y="6381955"/>
                  <a:pt x="5588513" y="6385769"/>
                </a:cubicBezTo>
                <a:cubicBezTo>
                  <a:pt x="5593101" y="6390169"/>
                  <a:pt x="5595484" y="6395919"/>
                  <a:pt x="5595484" y="6402841"/>
                </a:cubicBezTo>
                <a:cubicBezTo>
                  <a:pt x="5595484" y="6411994"/>
                  <a:pt x="5591492" y="6419093"/>
                  <a:pt x="5583329" y="6424608"/>
                </a:cubicBezTo>
                <a:cubicBezTo>
                  <a:pt x="5575999" y="6429536"/>
                  <a:pt x="5567419" y="6432058"/>
                  <a:pt x="5557885" y="6432058"/>
                </a:cubicBezTo>
                <a:cubicBezTo>
                  <a:pt x="5546087" y="6432058"/>
                  <a:pt x="5536792" y="6429946"/>
                  <a:pt x="5530178" y="6425723"/>
                </a:cubicBezTo>
                <a:cubicBezTo>
                  <a:pt x="5522491" y="6420676"/>
                  <a:pt x="5518737" y="6412992"/>
                  <a:pt x="5518737" y="6402137"/>
                </a:cubicBezTo>
                <a:lnTo>
                  <a:pt x="5518737" y="6400670"/>
                </a:lnTo>
                <a:lnTo>
                  <a:pt x="5500027" y="6400670"/>
                </a:lnTo>
                <a:lnTo>
                  <a:pt x="5500027" y="6402137"/>
                </a:lnTo>
                <a:cubicBezTo>
                  <a:pt x="5500027" y="6415397"/>
                  <a:pt x="5504973" y="6426544"/>
                  <a:pt x="5514804" y="6435227"/>
                </a:cubicBezTo>
                <a:cubicBezTo>
                  <a:pt x="5524517" y="6443851"/>
                  <a:pt x="5536315" y="6448251"/>
                  <a:pt x="5549841" y="6448251"/>
                </a:cubicBezTo>
                <a:cubicBezTo>
                  <a:pt x="5568432" y="6448251"/>
                  <a:pt x="5583448" y="6444907"/>
                  <a:pt x="5594412" y="6438336"/>
                </a:cubicBezTo>
                <a:cubicBezTo>
                  <a:pt x="5607580" y="6430416"/>
                  <a:pt x="5614194" y="6418037"/>
                  <a:pt x="5614194" y="6401550"/>
                </a:cubicBezTo>
                <a:cubicBezTo>
                  <a:pt x="5614194" y="6385065"/>
                  <a:pt x="5605912" y="6373331"/>
                  <a:pt x="5589406" y="6365059"/>
                </a:cubicBezTo>
                <a:cubicBezTo>
                  <a:pt x="5574629" y="6359779"/>
                  <a:pt x="5559732" y="6354381"/>
                  <a:pt x="5545253" y="6348983"/>
                </a:cubicBezTo>
                <a:cubicBezTo>
                  <a:pt x="5529999" y="6342530"/>
                  <a:pt x="5522551" y="6333671"/>
                  <a:pt x="5522551" y="6321820"/>
                </a:cubicBezTo>
                <a:cubicBezTo>
                  <a:pt x="5522551" y="6313313"/>
                  <a:pt x="5526424" y="6306801"/>
                  <a:pt x="5534408" y="6301872"/>
                </a:cubicBezTo>
                <a:cubicBezTo>
                  <a:pt x="5541320" y="6297648"/>
                  <a:pt x="5549543" y="6295477"/>
                  <a:pt x="5558779" y="6295477"/>
                </a:cubicBezTo>
                <a:cubicBezTo>
                  <a:pt x="5568015" y="6295477"/>
                  <a:pt x="5576178" y="6297120"/>
                  <a:pt x="5582077" y="6300347"/>
                </a:cubicBezTo>
                <a:cubicBezTo>
                  <a:pt x="5589108" y="6304219"/>
                  <a:pt x="5592564" y="6310262"/>
                  <a:pt x="5592564" y="6318769"/>
                </a:cubicBezTo>
                <a:lnTo>
                  <a:pt x="5592564" y="6320236"/>
                </a:lnTo>
                <a:lnTo>
                  <a:pt x="5611453" y="6320236"/>
                </a:lnTo>
                <a:lnTo>
                  <a:pt x="5611275" y="6318593"/>
                </a:lnTo>
                <a:cubicBezTo>
                  <a:pt x="5609547" y="6304160"/>
                  <a:pt x="5602694" y="6293424"/>
                  <a:pt x="5590777" y="6286736"/>
                </a:cubicBezTo>
                <a:cubicBezTo>
                  <a:pt x="5581899" y="6281749"/>
                  <a:pt x="5570518" y="6279226"/>
                  <a:pt x="5556991" y="6279226"/>
                </a:cubicBezTo>
                <a:close/>
                <a:moveTo>
                  <a:pt x="0" y="0"/>
                </a:moveTo>
                <a:lnTo>
                  <a:pt x="6096000" y="0"/>
                </a:lnTo>
                <a:lnTo>
                  <a:pt x="6096000" y="6858000"/>
                </a:lnTo>
                <a:lnTo>
                  <a:pt x="0" y="6858000"/>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2" name="Text Placeholder 2">
            <a:extLst>
              <a:ext uri="{FF2B5EF4-FFF2-40B4-BE49-F238E27FC236}">
                <a16:creationId xmlns:a16="http://schemas.microsoft.com/office/drawing/2014/main" id="{E91A4E5E-E7CF-44D6-BEAC-C4B5532C763A}"/>
              </a:ext>
            </a:extLst>
          </p:cNvPr>
          <p:cNvSpPr>
            <a:spLocks noGrp="1"/>
          </p:cNvSpPr>
          <p:nvPr>
            <p:ph type="body" sz="quarter" idx="16"/>
          </p:nvPr>
        </p:nvSpPr>
        <p:spPr>
          <a:xfrm>
            <a:off x="407988" y="1557339"/>
            <a:ext cx="5543550" cy="447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87634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127240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Graphic 13">
            <a:extLst>
              <a:ext uri="{FF2B5EF4-FFF2-40B4-BE49-F238E27FC236}">
                <a16:creationId xmlns:a16="http://schemas.microsoft.com/office/drawing/2014/main" id="{3B5B6A68-F841-48F3-8C21-7B3AF27E986D}"/>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2301" y="443583"/>
            <a:ext cx="661712" cy="878400"/>
          </a:xfrm>
          <a:prstGeom prst="rect">
            <a:avLst/>
          </a:prstGeom>
        </p:spPr>
      </p:pic>
      <p:sp>
        <p:nvSpPr>
          <p:cNvPr id="12" name="Text Placeholder 9">
            <a:extLst>
              <a:ext uri="{FF2B5EF4-FFF2-40B4-BE49-F238E27FC236}">
                <a16:creationId xmlns:a16="http://schemas.microsoft.com/office/drawing/2014/main" id="{66E7D639-11B5-42F7-B51E-4E5BE811EE06}"/>
              </a:ext>
            </a:extLst>
          </p:cNvPr>
          <p:cNvSpPr>
            <a:spLocks noGrp="1"/>
          </p:cNvSpPr>
          <p:nvPr>
            <p:ph type="body" sz="quarter" idx="14" hasCustomPrompt="1"/>
          </p:nvPr>
        </p:nvSpPr>
        <p:spPr>
          <a:xfrm>
            <a:off x="407988" y="4058084"/>
            <a:ext cx="10352086"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5" name="Text Placeholder 9">
            <a:extLst>
              <a:ext uri="{FF2B5EF4-FFF2-40B4-BE49-F238E27FC236}">
                <a16:creationId xmlns:a16="http://schemas.microsoft.com/office/drawing/2014/main" id="{7EC461ED-13B5-4C70-87AF-3644FD3EFD21}"/>
              </a:ext>
            </a:extLst>
          </p:cNvPr>
          <p:cNvSpPr>
            <a:spLocks noGrp="1"/>
          </p:cNvSpPr>
          <p:nvPr>
            <p:ph type="body" sz="quarter" idx="15" hasCustomPrompt="1"/>
          </p:nvPr>
        </p:nvSpPr>
        <p:spPr>
          <a:xfrm>
            <a:off x="407988" y="4958629"/>
            <a:ext cx="10352085"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7" name="Graphic 6">
            <a:extLst>
              <a:ext uri="{FF2B5EF4-FFF2-40B4-BE49-F238E27FC236}">
                <a16:creationId xmlns:a16="http://schemas.microsoft.com/office/drawing/2014/main" id="{E8B1D3D0-93DF-4316-BB6E-DB5F030EBE9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07988" y="6174856"/>
            <a:ext cx="944562" cy="450814"/>
          </a:xfrm>
          <a:prstGeom prst="rect">
            <a:avLst/>
          </a:prstGeom>
        </p:spPr>
      </p:pic>
      <p:sp>
        <p:nvSpPr>
          <p:cNvPr id="8" name="Text Placeholder 9">
            <a:extLst>
              <a:ext uri="{FF2B5EF4-FFF2-40B4-BE49-F238E27FC236}">
                <a16:creationId xmlns:a16="http://schemas.microsoft.com/office/drawing/2014/main" id="{18F2EC29-E0DC-4CA1-A311-084D98BE3DD2}"/>
              </a:ext>
            </a:extLst>
          </p:cNvPr>
          <p:cNvSpPr>
            <a:spLocks noGrp="1"/>
          </p:cNvSpPr>
          <p:nvPr>
            <p:ph type="body" sz="quarter" idx="11" hasCustomPrompt="1"/>
          </p:nvPr>
        </p:nvSpPr>
        <p:spPr>
          <a:xfrm>
            <a:off x="407987" y="448344"/>
            <a:ext cx="10352087" cy="3449401"/>
          </a:xfrm>
        </p:spPr>
        <p:txBody>
          <a:bodyPr anchor="b">
            <a:noAutofit/>
          </a:bodyPr>
          <a:lstStyle>
            <a:lvl1pPr marL="0" indent="0">
              <a:lnSpc>
                <a:spcPct val="90000"/>
              </a:lnSpc>
              <a:spcBef>
                <a:spcPts val="0"/>
              </a:spcBef>
              <a:buFont typeface="Arial" panose="020B0604020202020204" pitchFamily="34" charset="0"/>
              <a:buNone/>
              <a:defRPr sz="5400">
                <a:solidFill>
                  <a:schemeClr val="bg1"/>
                </a:solidFill>
              </a:defRPr>
            </a:lvl1pPr>
            <a:lvl2pPr marL="0" indent="0">
              <a:lnSpc>
                <a:spcPct val="90000"/>
              </a:lnSpc>
              <a:spcBef>
                <a:spcPts val="500"/>
              </a:spcBef>
              <a:buNone/>
              <a:defRPr sz="5400">
                <a:solidFill>
                  <a:schemeClr val="accent2"/>
                </a:solidFill>
                <a:latin typeface="+mn-lt"/>
              </a:defRPr>
            </a:lvl2pPr>
            <a:lvl3pPr marL="0" indent="0">
              <a:lnSpc>
                <a:spcPct val="90000"/>
              </a:lnSpc>
              <a:buNone/>
              <a:defRPr sz="5400">
                <a:solidFill>
                  <a:schemeClr val="bg1"/>
                </a:solidFill>
              </a:defRPr>
            </a:lvl3pPr>
            <a:lvl4pPr marL="0" indent="0">
              <a:lnSpc>
                <a:spcPct val="90000"/>
              </a:lnSpc>
              <a:buFont typeface="Arial" panose="020B0604020202020204" pitchFamily="34" charset="0"/>
              <a:buNone/>
              <a:defRPr sz="5400">
                <a:solidFill>
                  <a:schemeClr val="bg1"/>
                </a:solidFill>
              </a:defRPr>
            </a:lvl4pPr>
            <a:lvl5pPr marL="0" indent="0">
              <a:lnSpc>
                <a:spcPct val="90000"/>
              </a:lnSpc>
              <a:buFont typeface="Arial" panose="020B0604020202020204" pitchFamily="34" charset="0"/>
              <a:buNone/>
              <a:defRPr sz="5400">
                <a:solidFill>
                  <a:schemeClr val="bg1"/>
                </a:solidFill>
              </a:defRPr>
            </a:lvl5pPr>
            <a:lvl6pPr>
              <a:defRPr sz="5400">
                <a:solidFill>
                  <a:schemeClr val="bg1"/>
                </a:solidFill>
              </a:defRPr>
            </a:lvl6pPr>
            <a:lvl7pPr>
              <a:defRPr sz="5400">
                <a:solidFill>
                  <a:schemeClr val="bg1"/>
                </a:solidFill>
              </a:defRPr>
            </a:lvl7pPr>
            <a:lvl8pPr>
              <a:defRPr sz="5400">
                <a:solidFill>
                  <a:schemeClr val="bg1"/>
                </a:solidFill>
              </a:defRPr>
            </a:lvl8pPr>
            <a:lvl9pPr>
              <a:defRPr sz="54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140355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4036461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11376024"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11376024" cy="504000"/>
          </a:xfrm>
        </p:spPr>
        <p:txBody>
          <a:bodyPr vert="horz"/>
          <a:lstStyle>
            <a:lvl1pPr>
              <a:defRPr/>
            </a:lvl1pPr>
          </a:lstStyle>
          <a:p>
            <a:r>
              <a:rPr lang="en-US"/>
              <a:t>Slide title</a:t>
            </a:r>
            <a:endParaRPr lang="en-GB"/>
          </a:p>
        </p:txBody>
      </p:sp>
      <p:sp>
        <p:nvSpPr>
          <p:cNvPr id="12" name="Text Placeholder 2">
            <a:extLst>
              <a:ext uri="{FF2B5EF4-FFF2-40B4-BE49-F238E27FC236}">
                <a16:creationId xmlns:a16="http://schemas.microsoft.com/office/drawing/2014/main" id="{421BF257-7A79-4D51-81B4-7D85E07B57CF}"/>
              </a:ext>
            </a:extLst>
          </p:cNvPr>
          <p:cNvSpPr>
            <a:spLocks noGrp="1"/>
          </p:cNvSpPr>
          <p:nvPr>
            <p:ph type="body" sz="quarter" idx="15"/>
          </p:nvPr>
        </p:nvSpPr>
        <p:spPr>
          <a:xfrm>
            <a:off x="407988" y="1557339"/>
            <a:ext cx="5543550" cy="447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2">
            <a:extLst>
              <a:ext uri="{FF2B5EF4-FFF2-40B4-BE49-F238E27FC236}">
                <a16:creationId xmlns:a16="http://schemas.microsoft.com/office/drawing/2014/main" id="{BE0E3447-D0BD-4F10-8650-3DF4D2E0161F}"/>
              </a:ext>
            </a:extLst>
          </p:cNvPr>
          <p:cNvSpPr>
            <a:spLocks noGrp="1"/>
          </p:cNvSpPr>
          <p:nvPr>
            <p:ph type="body" sz="quarter" idx="16" hasCustomPrompt="1"/>
          </p:nvPr>
        </p:nvSpPr>
        <p:spPr>
          <a:xfrm>
            <a:off x="6240463" y="1557339"/>
            <a:ext cx="5543550" cy="396000"/>
          </a:xfrm>
        </p:spPr>
        <p:txBody>
          <a:bodyPr/>
          <a:lstStyle>
            <a:lvl1pPr algn="ctr">
              <a:defRPr/>
            </a:lvl1pPr>
          </a:lstStyle>
          <a:p>
            <a:pPr lvl="0"/>
            <a:r>
              <a:rPr lang="en-US"/>
              <a:t>Chart title</a:t>
            </a:r>
          </a:p>
        </p:txBody>
      </p:sp>
      <p:sp>
        <p:nvSpPr>
          <p:cNvPr id="9" name="Chart Placeholder 8">
            <a:extLst>
              <a:ext uri="{FF2B5EF4-FFF2-40B4-BE49-F238E27FC236}">
                <a16:creationId xmlns:a16="http://schemas.microsoft.com/office/drawing/2014/main" id="{79A90DC9-810C-441F-A805-8FC649C4BBB2}"/>
              </a:ext>
            </a:extLst>
          </p:cNvPr>
          <p:cNvSpPr>
            <a:spLocks noGrp="1"/>
          </p:cNvSpPr>
          <p:nvPr>
            <p:ph type="chart" sz="quarter" idx="17"/>
          </p:nvPr>
        </p:nvSpPr>
        <p:spPr>
          <a:xfrm>
            <a:off x="6240463" y="1952625"/>
            <a:ext cx="5543550" cy="4079875"/>
          </a:xfrm>
        </p:spPr>
        <p:txBody>
          <a:bodyPr anchor="ctr"/>
          <a:lstStyle>
            <a:lvl1pPr algn="ctr">
              <a:defRPr/>
            </a:lvl1pPr>
          </a:lstStyle>
          <a:p>
            <a:endParaRPr lang="en-GB"/>
          </a:p>
        </p:txBody>
      </p:sp>
    </p:spTree>
    <p:extLst>
      <p:ext uri="{BB962C8B-B14F-4D97-AF65-F5344CB8AC3E}">
        <p14:creationId xmlns:p14="http://schemas.microsoft.com/office/powerpoint/2010/main" val="36059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Chart Gre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361791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01C6D2D-A8BB-41D7-B5CD-FEC9B30FFDDD}"/>
              </a:ext>
            </a:extLst>
          </p:cNvPr>
          <p:cNvSpPr/>
          <p:nvPr userDrawn="1"/>
        </p:nvSpPr>
        <p:spPr>
          <a:xfrm flipH="1">
            <a:off x="0" y="0"/>
            <a:ext cx="6096000"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554355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5543550" cy="504000"/>
          </a:xfrm>
        </p:spPr>
        <p:txBody>
          <a:bodyPr vert="horz"/>
          <a:lstStyle>
            <a:lvl1pPr>
              <a:defRPr/>
            </a:lvl1pPr>
          </a:lstStyle>
          <a:p>
            <a:r>
              <a:rPr lang="en-US"/>
              <a:t>Slide title</a:t>
            </a:r>
            <a:endParaRPr lang="en-GB"/>
          </a:p>
        </p:txBody>
      </p:sp>
      <p:sp>
        <p:nvSpPr>
          <p:cNvPr id="12" name="Text Placeholder 2">
            <a:extLst>
              <a:ext uri="{FF2B5EF4-FFF2-40B4-BE49-F238E27FC236}">
                <a16:creationId xmlns:a16="http://schemas.microsoft.com/office/drawing/2014/main" id="{421BF257-7A79-4D51-81B4-7D85E07B57CF}"/>
              </a:ext>
            </a:extLst>
          </p:cNvPr>
          <p:cNvSpPr>
            <a:spLocks noGrp="1"/>
          </p:cNvSpPr>
          <p:nvPr>
            <p:ph type="body" sz="quarter" idx="15"/>
          </p:nvPr>
        </p:nvSpPr>
        <p:spPr>
          <a:xfrm>
            <a:off x="407988" y="1557339"/>
            <a:ext cx="5543550" cy="447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2">
            <a:extLst>
              <a:ext uri="{FF2B5EF4-FFF2-40B4-BE49-F238E27FC236}">
                <a16:creationId xmlns:a16="http://schemas.microsoft.com/office/drawing/2014/main" id="{BE0E3447-D0BD-4F10-8650-3DF4D2E0161F}"/>
              </a:ext>
            </a:extLst>
          </p:cNvPr>
          <p:cNvSpPr>
            <a:spLocks noGrp="1"/>
          </p:cNvSpPr>
          <p:nvPr>
            <p:ph type="body" sz="quarter" idx="16" hasCustomPrompt="1"/>
          </p:nvPr>
        </p:nvSpPr>
        <p:spPr>
          <a:xfrm>
            <a:off x="6240463" y="1557339"/>
            <a:ext cx="5543550" cy="396000"/>
          </a:xfrm>
        </p:spPr>
        <p:txBody>
          <a:bodyPr/>
          <a:lstStyle>
            <a:lvl1pPr algn="ctr">
              <a:defRPr/>
            </a:lvl1pPr>
          </a:lstStyle>
          <a:p>
            <a:pPr lvl="0"/>
            <a:r>
              <a:rPr lang="en-US"/>
              <a:t>Chart title</a:t>
            </a:r>
          </a:p>
        </p:txBody>
      </p:sp>
      <p:sp>
        <p:nvSpPr>
          <p:cNvPr id="9" name="Chart Placeholder 8">
            <a:extLst>
              <a:ext uri="{FF2B5EF4-FFF2-40B4-BE49-F238E27FC236}">
                <a16:creationId xmlns:a16="http://schemas.microsoft.com/office/drawing/2014/main" id="{79A90DC9-810C-441F-A805-8FC649C4BBB2}"/>
              </a:ext>
            </a:extLst>
          </p:cNvPr>
          <p:cNvSpPr>
            <a:spLocks noGrp="1"/>
          </p:cNvSpPr>
          <p:nvPr>
            <p:ph type="chart" sz="quarter" idx="17"/>
          </p:nvPr>
        </p:nvSpPr>
        <p:spPr>
          <a:xfrm>
            <a:off x="6240463" y="1952625"/>
            <a:ext cx="5543550" cy="4079875"/>
          </a:xfrm>
        </p:spPr>
        <p:txBody>
          <a:bodyPr anchor="ctr"/>
          <a:lstStyle>
            <a:lvl1pPr algn="ctr">
              <a:defRPr/>
            </a:lvl1pPr>
          </a:lstStyle>
          <a:p>
            <a:endParaRPr lang="en-GB"/>
          </a:p>
        </p:txBody>
      </p:sp>
    </p:spTree>
    <p:extLst>
      <p:ext uri="{BB962C8B-B14F-4D97-AF65-F5344CB8AC3E}">
        <p14:creationId xmlns:p14="http://schemas.microsoft.com/office/powerpoint/2010/main" val="312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s and Light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4290518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E3B763F4-7B53-42C3-822C-53216EBEB010}"/>
              </a:ext>
            </a:extLst>
          </p:cNvPr>
          <p:cNvSpPr>
            <a:spLocks noGrp="1"/>
          </p:cNvSpPr>
          <p:nvPr>
            <p:ph type="pic" sz="quarter" idx="19" hasCustomPrompt="1"/>
          </p:nvPr>
        </p:nvSpPr>
        <p:spPr>
          <a:xfrm>
            <a:off x="6096000" y="0"/>
            <a:ext cx="6096000" cy="6858000"/>
          </a:xfrm>
          <a:custGeom>
            <a:avLst/>
            <a:gdLst>
              <a:gd name="connsiteX0" fmla="*/ 5395808 w 6096000"/>
              <a:gd name="connsiteY0" fmla="*/ 6361245 h 6858000"/>
              <a:gd name="connsiteX1" fmla="*/ 5444847 w 6096000"/>
              <a:gd name="connsiteY1" fmla="*/ 6413168 h 6858000"/>
              <a:gd name="connsiteX2" fmla="*/ 5426554 w 6096000"/>
              <a:gd name="connsiteY2" fmla="*/ 6427130 h 6858000"/>
              <a:gd name="connsiteX3" fmla="*/ 5404448 w 6096000"/>
              <a:gd name="connsiteY3" fmla="*/ 6432117 h 6858000"/>
              <a:gd name="connsiteX4" fmla="*/ 5375965 w 6096000"/>
              <a:gd name="connsiteY4" fmla="*/ 6422730 h 6858000"/>
              <a:gd name="connsiteX5" fmla="*/ 5363691 w 6096000"/>
              <a:gd name="connsiteY5" fmla="*/ 6396681 h 6858000"/>
              <a:gd name="connsiteX6" fmla="*/ 5376204 w 6096000"/>
              <a:gd name="connsiteY6" fmla="*/ 6376323 h 6858000"/>
              <a:gd name="connsiteX7" fmla="*/ 5395808 w 6096000"/>
              <a:gd name="connsiteY7" fmla="*/ 6361245 h 6858000"/>
              <a:gd name="connsiteX8" fmla="*/ 5401707 w 6096000"/>
              <a:gd name="connsiteY8" fmla="*/ 6295478 h 6858000"/>
              <a:gd name="connsiteX9" fmla="*/ 5414756 w 6096000"/>
              <a:gd name="connsiteY9" fmla="*/ 6299291 h 6858000"/>
              <a:gd name="connsiteX10" fmla="*/ 5419940 w 6096000"/>
              <a:gd name="connsiteY10" fmla="*/ 6309851 h 6858000"/>
              <a:gd name="connsiteX11" fmla="*/ 5412551 w 6096000"/>
              <a:gd name="connsiteY11" fmla="*/ 6326631 h 6858000"/>
              <a:gd name="connsiteX12" fmla="*/ 5398847 w 6096000"/>
              <a:gd name="connsiteY12" fmla="*/ 6339479 h 6858000"/>
              <a:gd name="connsiteX13" fmla="*/ 5388359 w 6096000"/>
              <a:gd name="connsiteY13" fmla="*/ 6326278 h 6858000"/>
              <a:gd name="connsiteX14" fmla="*/ 5382758 w 6096000"/>
              <a:gd name="connsiteY14" fmla="*/ 6309910 h 6858000"/>
              <a:gd name="connsiteX15" fmla="*/ 5382758 w 6096000"/>
              <a:gd name="connsiteY15" fmla="*/ 6309851 h 6858000"/>
              <a:gd name="connsiteX16" fmla="*/ 5387942 w 6096000"/>
              <a:gd name="connsiteY16" fmla="*/ 6299056 h 6858000"/>
              <a:gd name="connsiteX17" fmla="*/ 5401707 w 6096000"/>
              <a:gd name="connsiteY17" fmla="*/ 6295478 h 6858000"/>
              <a:gd name="connsiteX18" fmla="*/ 5214311 w 6096000"/>
              <a:gd name="connsiteY18" fmla="*/ 6282629 h 6858000"/>
              <a:gd name="connsiteX19" fmla="*/ 5214311 w 6096000"/>
              <a:gd name="connsiteY19" fmla="*/ 6298822 h 6858000"/>
              <a:gd name="connsiteX20" fmla="*/ 5266628 w 6096000"/>
              <a:gd name="connsiteY20" fmla="*/ 6298822 h 6858000"/>
              <a:gd name="connsiteX21" fmla="*/ 5266628 w 6096000"/>
              <a:gd name="connsiteY21" fmla="*/ 6445200 h 6858000"/>
              <a:gd name="connsiteX22" fmla="*/ 5284206 w 6096000"/>
              <a:gd name="connsiteY22" fmla="*/ 6445200 h 6858000"/>
              <a:gd name="connsiteX23" fmla="*/ 5284444 w 6096000"/>
              <a:gd name="connsiteY23" fmla="*/ 6298822 h 6858000"/>
              <a:gd name="connsiteX24" fmla="*/ 5335867 w 6096000"/>
              <a:gd name="connsiteY24" fmla="*/ 6298822 h 6858000"/>
              <a:gd name="connsiteX25" fmla="*/ 5335867 w 6096000"/>
              <a:gd name="connsiteY25" fmla="*/ 6282629 h 6858000"/>
              <a:gd name="connsiteX26" fmla="*/ 5400992 w 6096000"/>
              <a:gd name="connsiteY26" fmla="*/ 6279402 h 6858000"/>
              <a:gd name="connsiteX27" fmla="*/ 5375608 w 6096000"/>
              <a:gd name="connsiteY27" fmla="*/ 6286736 h 6858000"/>
              <a:gd name="connsiteX28" fmla="*/ 5363989 w 6096000"/>
              <a:gd name="connsiteY28" fmla="*/ 6309734 h 6858000"/>
              <a:gd name="connsiteX29" fmla="*/ 5371199 w 6096000"/>
              <a:gd name="connsiteY29" fmla="*/ 6332086 h 6858000"/>
              <a:gd name="connsiteX30" fmla="*/ 5384784 w 6096000"/>
              <a:gd name="connsiteY30" fmla="*/ 6349277 h 6858000"/>
              <a:gd name="connsiteX31" fmla="*/ 5364346 w 6096000"/>
              <a:gd name="connsiteY31" fmla="*/ 6363768 h 6858000"/>
              <a:gd name="connsiteX32" fmla="*/ 5344921 w 6096000"/>
              <a:gd name="connsiteY32" fmla="*/ 6399849 h 6858000"/>
              <a:gd name="connsiteX33" fmla="*/ 5362439 w 6096000"/>
              <a:gd name="connsiteY33" fmla="*/ 6435286 h 6858000"/>
              <a:gd name="connsiteX34" fmla="*/ 5405699 w 6096000"/>
              <a:gd name="connsiteY34" fmla="*/ 6448427 h 6858000"/>
              <a:gd name="connsiteX35" fmla="*/ 5433705 w 6096000"/>
              <a:gd name="connsiteY35" fmla="*/ 6442149 h 6858000"/>
              <a:gd name="connsiteX36" fmla="*/ 5455394 w 6096000"/>
              <a:gd name="connsiteY36" fmla="*/ 6424842 h 6858000"/>
              <a:gd name="connsiteX37" fmla="*/ 5474164 w 6096000"/>
              <a:gd name="connsiteY37" fmla="*/ 6445201 h 6858000"/>
              <a:gd name="connsiteX38" fmla="*/ 5498952 w 6096000"/>
              <a:gd name="connsiteY38" fmla="*/ 6445376 h 6858000"/>
              <a:gd name="connsiteX39" fmla="*/ 5466656 w 6096000"/>
              <a:gd name="connsiteY39" fmla="*/ 6410703 h 6858000"/>
              <a:gd name="connsiteX40" fmla="*/ 5466715 w 6096000"/>
              <a:gd name="connsiteY40" fmla="*/ 6410586 h 6858000"/>
              <a:gd name="connsiteX41" fmla="*/ 5476607 w 6096000"/>
              <a:gd name="connsiteY41" fmla="*/ 6386297 h 6858000"/>
              <a:gd name="connsiteX42" fmla="*/ 5482446 w 6096000"/>
              <a:gd name="connsiteY42" fmla="*/ 6341767 h 6858000"/>
              <a:gd name="connsiteX43" fmla="*/ 5482625 w 6096000"/>
              <a:gd name="connsiteY43" fmla="*/ 6340183 h 6858000"/>
              <a:gd name="connsiteX44" fmla="*/ 5463796 w 6096000"/>
              <a:gd name="connsiteY44" fmla="*/ 6340183 h 6858000"/>
              <a:gd name="connsiteX45" fmla="*/ 5463796 w 6096000"/>
              <a:gd name="connsiteY45" fmla="*/ 6341650 h 6858000"/>
              <a:gd name="connsiteX46" fmla="*/ 5461233 w 6096000"/>
              <a:gd name="connsiteY46" fmla="*/ 6372627 h 6858000"/>
              <a:gd name="connsiteX47" fmla="*/ 5454441 w 6096000"/>
              <a:gd name="connsiteY47" fmla="*/ 6398324 h 6858000"/>
              <a:gd name="connsiteX48" fmla="*/ 5409751 w 6096000"/>
              <a:gd name="connsiteY48" fmla="*/ 6351331 h 6858000"/>
              <a:gd name="connsiteX49" fmla="*/ 5428878 w 6096000"/>
              <a:gd name="connsiteY49" fmla="*/ 6334199 h 6858000"/>
              <a:gd name="connsiteX50" fmla="*/ 5438650 w 6096000"/>
              <a:gd name="connsiteY50" fmla="*/ 6309147 h 6858000"/>
              <a:gd name="connsiteX51" fmla="*/ 5426554 w 6096000"/>
              <a:gd name="connsiteY51" fmla="*/ 6286267 h 6858000"/>
              <a:gd name="connsiteX52" fmla="*/ 5400992 w 6096000"/>
              <a:gd name="connsiteY52" fmla="*/ 6279402 h 6858000"/>
              <a:gd name="connsiteX53" fmla="*/ 5556991 w 6096000"/>
              <a:gd name="connsiteY53" fmla="*/ 6279226 h 6858000"/>
              <a:gd name="connsiteX54" fmla="*/ 5520584 w 6096000"/>
              <a:gd name="connsiteY54" fmla="*/ 6290549 h 6858000"/>
              <a:gd name="connsiteX55" fmla="*/ 5503841 w 6096000"/>
              <a:gd name="connsiteY55" fmla="*/ 6323756 h 6858000"/>
              <a:gd name="connsiteX56" fmla="*/ 5527973 w 6096000"/>
              <a:gd name="connsiteY56" fmla="*/ 6360365 h 6858000"/>
              <a:gd name="connsiteX57" fmla="*/ 5571113 w 6096000"/>
              <a:gd name="connsiteY57" fmla="*/ 6376382 h 6858000"/>
              <a:gd name="connsiteX58" fmla="*/ 5588513 w 6096000"/>
              <a:gd name="connsiteY58" fmla="*/ 6385769 h 6858000"/>
              <a:gd name="connsiteX59" fmla="*/ 5595484 w 6096000"/>
              <a:gd name="connsiteY59" fmla="*/ 6402841 h 6858000"/>
              <a:gd name="connsiteX60" fmla="*/ 5583329 w 6096000"/>
              <a:gd name="connsiteY60" fmla="*/ 6424608 h 6858000"/>
              <a:gd name="connsiteX61" fmla="*/ 5557885 w 6096000"/>
              <a:gd name="connsiteY61" fmla="*/ 6432058 h 6858000"/>
              <a:gd name="connsiteX62" fmla="*/ 5530178 w 6096000"/>
              <a:gd name="connsiteY62" fmla="*/ 6425723 h 6858000"/>
              <a:gd name="connsiteX63" fmla="*/ 5518737 w 6096000"/>
              <a:gd name="connsiteY63" fmla="*/ 6402137 h 6858000"/>
              <a:gd name="connsiteX64" fmla="*/ 5518737 w 6096000"/>
              <a:gd name="connsiteY64" fmla="*/ 6400670 h 6858000"/>
              <a:gd name="connsiteX65" fmla="*/ 5500027 w 6096000"/>
              <a:gd name="connsiteY65" fmla="*/ 6400670 h 6858000"/>
              <a:gd name="connsiteX66" fmla="*/ 5500027 w 6096000"/>
              <a:gd name="connsiteY66" fmla="*/ 6402137 h 6858000"/>
              <a:gd name="connsiteX67" fmla="*/ 5514804 w 6096000"/>
              <a:gd name="connsiteY67" fmla="*/ 6435227 h 6858000"/>
              <a:gd name="connsiteX68" fmla="*/ 5549841 w 6096000"/>
              <a:gd name="connsiteY68" fmla="*/ 6448251 h 6858000"/>
              <a:gd name="connsiteX69" fmla="*/ 5594412 w 6096000"/>
              <a:gd name="connsiteY69" fmla="*/ 6438336 h 6858000"/>
              <a:gd name="connsiteX70" fmla="*/ 5614194 w 6096000"/>
              <a:gd name="connsiteY70" fmla="*/ 6401550 h 6858000"/>
              <a:gd name="connsiteX71" fmla="*/ 5589406 w 6096000"/>
              <a:gd name="connsiteY71" fmla="*/ 6365059 h 6858000"/>
              <a:gd name="connsiteX72" fmla="*/ 5545253 w 6096000"/>
              <a:gd name="connsiteY72" fmla="*/ 6348983 h 6858000"/>
              <a:gd name="connsiteX73" fmla="*/ 5522551 w 6096000"/>
              <a:gd name="connsiteY73" fmla="*/ 6321820 h 6858000"/>
              <a:gd name="connsiteX74" fmla="*/ 5534408 w 6096000"/>
              <a:gd name="connsiteY74" fmla="*/ 6301872 h 6858000"/>
              <a:gd name="connsiteX75" fmla="*/ 5558779 w 6096000"/>
              <a:gd name="connsiteY75" fmla="*/ 6295477 h 6858000"/>
              <a:gd name="connsiteX76" fmla="*/ 5582077 w 6096000"/>
              <a:gd name="connsiteY76" fmla="*/ 6300347 h 6858000"/>
              <a:gd name="connsiteX77" fmla="*/ 5592564 w 6096000"/>
              <a:gd name="connsiteY77" fmla="*/ 6318769 h 6858000"/>
              <a:gd name="connsiteX78" fmla="*/ 5592564 w 6096000"/>
              <a:gd name="connsiteY78" fmla="*/ 6320236 h 6858000"/>
              <a:gd name="connsiteX79" fmla="*/ 5611453 w 6096000"/>
              <a:gd name="connsiteY79" fmla="*/ 6320236 h 6858000"/>
              <a:gd name="connsiteX80" fmla="*/ 5611275 w 6096000"/>
              <a:gd name="connsiteY80" fmla="*/ 6318593 h 6858000"/>
              <a:gd name="connsiteX81" fmla="*/ 5590777 w 6096000"/>
              <a:gd name="connsiteY81" fmla="*/ 6286736 h 6858000"/>
              <a:gd name="connsiteX82" fmla="*/ 5556991 w 6096000"/>
              <a:gd name="connsiteY82" fmla="*/ 6279226 h 6858000"/>
              <a:gd name="connsiteX83" fmla="*/ 0 w 6096000"/>
              <a:gd name="connsiteY83" fmla="*/ 0 h 6858000"/>
              <a:gd name="connsiteX84" fmla="*/ 6096000 w 6096000"/>
              <a:gd name="connsiteY84" fmla="*/ 0 h 6858000"/>
              <a:gd name="connsiteX85" fmla="*/ 6096000 w 6096000"/>
              <a:gd name="connsiteY85" fmla="*/ 6858000 h 6858000"/>
              <a:gd name="connsiteX86" fmla="*/ 0 w 6096000"/>
              <a:gd name="connsiteY8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96000" h="6858000">
                <a:moveTo>
                  <a:pt x="5395808" y="6361245"/>
                </a:moveTo>
                <a:lnTo>
                  <a:pt x="5444847" y="6413168"/>
                </a:lnTo>
                <a:cubicBezTo>
                  <a:pt x="5438829" y="6419269"/>
                  <a:pt x="5432692" y="6423962"/>
                  <a:pt x="5426554" y="6427130"/>
                </a:cubicBezTo>
                <a:cubicBezTo>
                  <a:pt x="5420119" y="6430416"/>
                  <a:pt x="5412671" y="6432117"/>
                  <a:pt x="5404448" y="6432117"/>
                </a:cubicBezTo>
                <a:cubicBezTo>
                  <a:pt x="5393186" y="6432117"/>
                  <a:pt x="5383592" y="6428949"/>
                  <a:pt x="5375965" y="6422730"/>
                </a:cubicBezTo>
                <a:cubicBezTo>
                  <a:pt x="5367802" y="6416159"/>
                  <a:pt x="5363691" y="6407359"/>
                  <a:pt x="5363691" y="6396681"/>
                </a:cubicBezTo>
                <a:cubicBezTo>
                  <a:pt x="5363691" y="6391108"/>
                  <a:pt x="5367921" y="6384244"/>
                  <a:pt x="5376204" y="6376323"/>
                </a:cubicBezTo>
                <a:cubicBezTo>
                  <a:pt x="5381567" y="6371337"/>
                  <a:pt x="5388121" y="6366291"/>
                  <a:pt x="5395808" y="6361245"/>
                </a:cubicBezTo>
                <a:close/>
                <a:moveTo>
                  <a:pt x="5401707" y="6295478"/>
                </a:moveTo>
                <a:cubicBezTo>
                  <a:pt x="5406772" y="6295478"/>
                  <a:pt x="5411181" y="6296769"/>
                  <a:pt x="5414756" y="6299291"/>
                </a:cubicBezTo>
                <a:cubicBezTo>
                  <a:pt x="5418272" y="6301755"/>
                  <a:pt x="5419940" y="6305217"/>
                  <a:pt x="5419940" y="6309851"/>
                </a:cubicBezTo>
                <a:cubicBezTo>
                  <a:pt x="5419940" y="6315484"/>
                  <a:pt x="5417437" y="6321174"/>
                  <a:pt x="5412551" y="6326631"/>
                </a:cubicBezTo>
                <a:cubicBezTo>
                  <a:pt x="5407963" y="6330972"/>
                  <a:pt x="5403435" y="6335255"/>
                  <a:pt x="5398847" y="6339479"/>
                </a:cubicBezTo>
                <a:cubicBezTo>
                  <a:pt x="5394199" y="6334434"/>
                  <a:pt x="5390683" y="6329974"/>
                  <a:pt x="5388359" y="6326278"/>
                </a:cubicBezTo>
                <a:cubicBezTo>
                  <a:pt x="5384605" y="6320412"/>
                  <a:pt x="5382758" y="6314838"/>
                  <a:pt x="5382758" y="6309910"/>
                </a:cubicBezTo>
                <a:lnTo>
                  <a:pt x="5382758" y="6309851"/>
                </a:lnTo>
                <a:cubicBezTo>
                  <a:pt x="5382758" y="6304923"/>
                  <a:pt x="5384427" y="6301344"/>
                  <a:pt x="5387942" y="6299056"/>
                </a:cubicBezTo>
                <a:cubicBezTo>
                  <a:pt x="5391577" y="6296651"/>
                  <a:pt x="5396225" y="6295478"/>
                  <a:pt x="5401707" y="6295478"/>
                </a:cubicBezTo>
                <a:close/>
                <a:moveTo>
                  <a:pt x="5214311" y="6282629"/>
                </a:moveTo>
                <a:lnTo>
                  <a:pt x="5214311" y="6298822"/>
                </a:lnTo>
                <a:lnTo>
                  <a:pt x="5266628" y="6298822"/>
                </a:lnTo>
                <a:lnTo>
                  <a:pt x="5266628" y="6445200"/>
                </a:lnTo>
                <a:lnTo>
                  <a:pt x="5284206" y="6445200"/>
                </a:lnTo>
                <a:lnTo>
                  <a:pt x="5284444" y="6298822"/>
                </a:lnTo>
                <a:lnTo>
                  <a:pt x="5335867" y="6298822"/>
                </a:lnTo>
                <a:lnTo>
                  <a:pt x="5335867" y="6282629"/>
                </a:lnTo>
                <a:close/>
                <a:moveTo>
                  <a:pt x="5400992" y="6279402"/>
                </a:moveTo>
                <a:cubicBezTo>
                  <a:pt x="5390862" y="6279402"/>
                  <a:pt x="5382460" y="6281867"/>
                  <a:pt x="5375608" y="6286736"/>
                </a:cubicBezTo>
                <a:cubicBezTo>
                  <a:pt x="5367921" y="6292309"/>
                  <a:pt x="5363989" y="6300053"/>
                  <a:pt x="5363989" y="6309734"/>
                </a:cubicBezTo>
                <a:cubicBezTo>
                  <a:pt x="5363989" y="6317067"/>
                  <a:pt x="5366432" y="6324577"/>
                  <a:pt x="5371199" y="6332086"/>
                </a:cubicBezTo>
                <a:cubicBezTo>
                  <a:pt x="5373642" y="6336076"/>
                  <a:pt x="5378230" y="6341884"/>
                  <a:pt x="5384784" y="6349277"/>
                </a:cubicBezTo>
                <a:cubicBezTo>
                  <a:pt x="5374952" y="6355672"/>
                  <a:pt x="5368040" y="6360541"/>
                  <a:pt x="5364346" y="6363768"/>
                </a:cubicBezTo>
                <a:cubicBezTo>
                  <a:pt x="5351475" y="6374504"/>
                  <a:pt x="5344921" y="6386590"/>
                  <a:pt x="5344921" y="6399849"/>
                </a:cubicBezTo>
                <a:cubicBezTo>
                  <a:pt x="5344921" y="6414576"/>
                  <a:pt x="5350820" y="6426485"/>
                  <a:pt x="5362439" y="6435286"/>
                </a:cubicBezTo>
                <a:cubicBezTo>
                  <a:pt x="5373940" y="6443968"/>
                  <a:pt x="5388538" y="6448427"/>
                  <a:pt x="5405699" y="6448427"/>
                </a:cubicBezTo>
                <a:cubicBezTo>
                  <a:pt x="5416067" y="6448427"/>
                  <a:pt x="5425482" y="6446315"/>
                  <a:pt x="5433705" y="6442149"/>
                </a:cubicBezTo>
                <a:cubicBezTo>
                  <a:pt x="5441451" y="6438219"/>
                  <a:pt x="5448720" y="6432411"/>
                  <a:pt x="5455394" y="6424842"/>
                </a:cubicBezTo>
                <a:lnTo>
                  <a:pt x="5474164" y="6445201"/>
                </a:lnTo>
                <a:lnTo>
                  <a:pt x="5498952" y="6445376"/>
                </a:lnTo>
                <a:lnTo>
                  <a:pt x="5466656" y="6410703"/>
                </a:lnTo>
                <a:lnTo>
                  <a:pt x="5466715" y="6410586"/>
                </a:lnTo>
                <a:cubicBezTo>
                  <a:pt x="5471125" y="6402959"/>
                  <a:pt x="5474462" y="6394745"/>
                  <a:pt x="5476607" y="6386297"/>
                </a:cubicBezTo>
                <a:cubicBezTo>
                  <a:pt x="5478275" y="6379608"/>
                  <a:pt x="5480241" y="6364589"/>
                  <a:pt x="5482446" y="6341767"/>
                </a:cubicBezTo>
                <a:lnTo>
                  <a:pt x="5482625" y="6340183"/>
                </a:lnTo>
                <a:lnTo>
                  <a:pt x="5463796" y="6340183"/>
                </a:lnTo>
                <a:lnTo>
                  <a:pt x="5463796" y="6341650"/>
                </a:lnTo>
                <a:cubicBezTo>
                  <a:pt x="5463796" y="6351154"/>
                  <a:pt x="5462902" y="6361597"/>
                  <a:pt x="5461233" y="6372627"/>
                </a:cubicBezTo>
                <a:cubicBezTo>
                  <a:pt x="5459684" y="6382660"/>
                  <a:pt x="5457420" y="6391284"/>
                  <a:pt x="5454441" y="6398324"/>
                </a:cubicBezTo>
                <a:lnTo>
                  <a:pt x="5409751" y="6351331"/>
                </a:lnTo>
                <a:cubicBezTo>
                  <a:pt x="5418570" y="6344642"/>
                  <a:pt x="5425005" y="6338892"/>
                  <a:pt x="5428878" y="6334199"/>
                </a:cubicBezTo>
                <a:cubicBezTo>
                  <a:pt x="5435373" y="6326454"/>
                  <a:pt x="5438650" y="6318007"/>
                  <a:pt x="5438650" y="6309147"/>
                </a:cubicBezTo>
                <a:cubicBezTo>
                  <a:pt x="5438650" y="6299408"/>
                  <a:pt x="5434598" y="6291723"/>
                  <a:pt x="5426554" y="6286267"/>
                </a:cubicBezTo>
                <a:cubicBezTo>
                  <a:pt x="5419761" y="6281690"/>
                  <a:pt x="5411121" y="6279402"/>
                  <a:pt x="5400992" y="6279402"/>
                </a:cubicBezTo>
                <a:close/>
                <a:moveTo>
                  <a:pt x="5556991" y="6279226"/>
                </a:moveTo>
                <a:cubicBezTo>
                  <a:pt x="5542810" y="6279226"/>
                  <a:pt x="5530535" y="6283040"/>
                  <a:pt x="5520584" y="6290549"/>
                </a:cubicBezTo>
                <a:cubicBezTo>
                  <a:pt x="5509442" y="6298880"/>
                  <a:pt x="5503841" y="6310086"/>
                  <a:pt x="5503841" y="6323756"/>
                </a:cubicBezTo>
                <a:cubicBezTo>
                  <a:pt x="5503841" y="6339128"/>
                  <a:pt x="5511944" y="6351448"/>
                  <a:pt x="5527973" y="6360365"/>
                </a:cubicBezTo>
                <a:cubicBezTo>
                  <a:pt x="5533514" y="6363358"/>
                  <a:pt x="5547577" y="6368637"/>
                  <a:pt x="5571113" y="6376382"/>
                </a:cubicBezTo>
                <a:cubicBezTo>
                  <a:pt x="5578621" y="6378787"/>
                  <a:pt x="5584520" y="6381955"/>
                  <a:pt x="5588513" y="6385769"/>
                </a:cubicBezTo>
                <a:cubicBezTo>
                  <a:pt x="5593101" y="6390169"/>
                  <a:pt x="5595484" y="6395919"/>
                  <a:pt x="5595484" y="6402841"/>
                </a:cubicBezTo>
                <a:cubicBezTo>
                  <a:pt x="5595484" y="6411994"/>
                  <a:pt x="5591492" y="6419093"/>
                  <a:pt x="5583329" y="6424608"/>
                </a:cubicBezTo>
                <a:cubicBezTo>
                  <a:pt x="5575999" y="6429536"/>
                  <a:pt x="5567419" y="6432058"/>
                  <a:pt x="5557885" y="6432058"/>
                </a:cubicBezTo>
                <a:cubicBezTo>
                  <a:pt x="5546087" y="6432058"/>
                  <a:pt x="5536792" y="6429946"/>
                  <a:pt x="5530178" y="6425723"/>
                </a:cubicBezTo>
                <a:cubicBezTo>
                  <a:pt x="5522491" y="6420676"/>
                  <a:pt x="5518737" y="6412992"/>
                  <a:pt x="5518737" y="6402137"/>
                </a:cubicBezTo>
                <a:lnTo>
                  <a:pt x="5518737" y="6400670"/>
                </a:lnTo>
                <a:lnTo>
                  <a:pt x="5500027" y="6400670"/>
                </a:lnTo>
                <a:lnTo>
                  <a:pt x="5500027" y="6402137"/>
                </a:lnTo>
                <a:cubicBezTo>
                  <a:pt x="5500027" y="6415397"/>
                  <a:pt x="5504973" y="6426544"/>
                  <a:pt x="5514804" y="6435227"/>
                </a:cubicBezTo>
                <a:cubicBezTo>
                  <a:pt x="5524517" y="6443851"/>
                  <a:pt x="5536315" y="6448251"/>
                  <a:pt x="5549841" y="6448251"/>
                </a:cubicBezTo>
                <a:cubicBezTo>
                  <a:pt x="5568432" y="6448251"/>
                  <a:pt x="5583448" y="6444907"/>
                  <a:pt x="5594412" y="6438336"/>
                </a:cubicBezTo>
                <a:cubicBezTo>
                  <a:pt x="5607580" y="6430416"/>
                  <a:pt x="5614194" y="6418037"/>
                  <a:pt x="5614194" y="6401550"/>
                </a:cubicBezTo>
                <a:cubicBezTo>
                  <a:pt x="5614194" y="6385065"/>
                  <a:pt x="5605912" y="6373331"/>
                  <a:pt x="5589406" y="6365059"/>
                </a:cubicBezTo>
                <a:cubicBezTo>
                  <a:pt x="5574629" y="6359779"/>
                  <a:pt x="5559732" y="6354381"/>
                  <a:pt x="5545253" y="6348983"/>
                </a:cubicBezTo>
                <a:cubicBezTo>
                  <a:pt x="5529999" y="6342530"/>
                  <a:pt x="5522551" y="6333671"/>
                  <a:pt x="5522551" y="6321820"/>
                </a:cubicBezTo>
                <a:cubicBezTo>
                  <a:pt x="5522551" y="6313313"/>
                  <a:pt x="5526424" y="6306801"/>
                  <a:pt x="5534408" y="6301872"/>
                </a:cubicBezTo>
                <a:cubicBezTo>
                  <a:pt x="5541320" y="6297648"/>
                  <a:pt x="5549543" y="6295477"/>
                  <a:pt x="5558779" y="6295477"/>
                </a:cubicBezTo>
                <a:cubicBezTo>
                  <a:pt x="5568015" y="6295477"/>
                  <a:pt x="5576178" y="6297120"/>
                  <a:pt x="5582077" y="6300347"/>
                </a:cubicBezTo>
                <a:cubicBezTo>
                  <a:pt x="5589108" y="6304219"/>
                  <a:pt x="5592564" y="6310262"/>
                  <a:pt x="5592564" y="6318769"/>
                </a:cubicBezTo>
                <a:lnTo>
                  <a:pt x="5592564" y="6320236"/>
                </a:lnTo>
                <a:lnTo>
                  <a:pt x="5611453" y="6320236"/>
                </a:lnTo>
                <a:lnTo>
                  <a:pt x="5611275" y="6318593"/>
                </a:lnTo>
                <a:cubicBezTo>
                  <a:pt x="5609547" y="6304160"/>
                  <a:pt x="5602694" y="6293424"/>
                  <a:pt x="5590777" y="6286736"/>
                </a:cubicBezTo>
                <a:cubicBezTo>
                  <a:pt x="5581899" y="6281749"/>
                  <a:pt x="5570518" y="6279226"/>
                  <a:pt x="5556991" y="6279226"/>
                </a:cubicBez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5" name="Graphic BG Light Grey">
            <a:extLst>
              <a:ext uri="{FF2B5EF4-FFF2-40B4-BE49-F238E27FC236}">
                <a16:creationId xmlns:a16="http://schemas.microsoft.com/office/drawing/2014/main" id="{C442F78A-96DE-42DF-9316-383FB36318F5}"/>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 Placeholder 2">
            <a:extLst>
              <a:ext uri="{FF2B5EF4-FFF2-40B4-BE49-F238E27FC236}">
                <a16:creationId xmlns:a16="http://schemas.microsoft.com/office/drawing/2014/main" id="{CD9FDD86-FD4F-49DD-A9EF-1E913FC8A102}"/>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hart Placeholder 12">
            <a:extLst>
              <a:ext uri="{FF2B5EF4-FFF2-40B4-BE49-F238E27FC236}">
                <a16:creationId xmlns:a16="http://schemas.microsoft.com/office/drawing/2014/main" id="{5CBD2158-345E-4B50-BB06-1DAC0D928B14}"/>
              </a:ext>
            </a:extLst>
          </p:cNvPr>
          <p:cNvSpPr>
            <a:spLocks noGrp="1"/>
          </p:cNvSpPr>
          <p:nvPr>
            <p:ph type="chart" sz="quarter" idx="17"/>
          </p:nvPr>
        </p:nvSpPr>
        <p:spPr>
          <a:xfrm>
            <a:off x="407988" y="3688550"/>
            <a:ext cx="2455200" cy="2084400"/>
          </a:xfrm>
        </p:spPr>
        <p:txBody>
          <a:bodyPr/>
          <a:lstStyle/>
          <a:p>
            <a:endParaRPr lang="en-GB"/>
          </a:p>
        </p:txBody>
      </p:sp>
      <p:sp>
        <p:nvSpPr>
          <p:cNvPr id="18" name="Chart Placeholder 12">
            <a:extLst>
              <a:ext uri="{FF2B5EF4-FFF2-40B4-BE49-F238E27FC236}">
                <a16:creationId xmlns:a16="http://schemas.microsoft.com/office/drawing/2014/main" id="{0F55CB27-5EB2-46D0-9FAC-F7EABFDEF6CB}"/>
              </a:ext>
            </a:extLst>
          </p:cNvPr>
          <p:cNvSpPr>
            <a:spLocks noGrp="1"/>
          </p:cNvSpPr>
          <p:nvPr>
            <p:ph type="chart" sz="quarter" idx="18"/>
          </p:nvPr>
        </p:nvSpPr>
        <p:spPr>
          <a:xfrm>
            <a:off x="3252788" y="3688550"/>
            <a:ext cx="2455200" cy="2084400"/>
          </a:xfrm>
        </p:spPr>
        <p:txBody>
          <a:bodyPr/>
          <a:lstStyle/>
          <a:p>
            <a:endParaRPr lang="en-GB"/>
          </a:p>
        </p:txBody>
      </p:sp>
    </p:spTree>
    <p:extLst>
      <p:ext uri="{BB962C8B-B14F-4D97-AF65-F5344CB8AC3E}">
        <p14:creationId xmlns:p14="http://schemas.microsoft.com/office/powerpoint/2010/main" val="39276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rts and Dark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3256012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82E9DFEC-076A-45B4-BA72-E4CA856E3815}"/>
              </a:ext>
            </a:extLst>
          </p:cNvPr>
          <p:cNvSpPr>
            <a:spLocks noGrp="1"/>
          </p:cNvSpPr>
          <p:nvPr>
            <p:ph type="pic" sz="quarter" idx="19" hasCustomPrompt="1"/>
          </p:nvPr>
        </p:nvSpPr>
        <p:spPr>
          <a:xfrm>
            <a:off x="6096000" y="0"/>
            <a:ext cx="6096000" cy="6858000"/>
          </a:xfrm>
          <a:custGeom>
            <a:avLst/>
            <a:gdLst>
              <a:gd name="connsiteX0" fmla="*/ 5395808 w 6096000"/>
              <a:gd name="connsiteY0" fmla="*/ 6361245 h 6858000"/>
              <a:gd name="connsiteX1" fmla="*/ 5444847 w 6096000"/>
              <a:gd name="connsiteY1" fmla="*/ 6413168 h 6858000"/>
              <a:gd name="connsiteX2" fmla="*/ 5426554 w 6096000"/>
              <a:gd name="connsiteY2" fmla="*/ 6427130 h 6858000"/>
              <a:gd name="connsiteX3" fmla="*/ 5404448 w 6096000"/>
              <a:gd name="connsiteY3" fmla="*/ 6432117 h 6858000"/>
              <a:gd name="connsiteX4" fmla="*/ 5375965 w 6096000"/>
              <a:gd name="connsiteY4" fmla="*/ 6422730 h 6858000"/>
              <a:gd name="connsiteX5" fmla="*/ 5363691 w 6096000"/>
              <a:gd name="connsiteY5" fmla="*/ 6396681 h 6858000"/>
              <a:gd name="connsiteX6" fmla="*/ 5376204 w 6096000"/>
              <a:gd name="connsiteY6" fmla="*/ 6376323 h 6858000"/>
              <a:gd name="connsiteX7" fmla="*/ 5395808 w 6096000"/>
              <a:gd name="connsiteY7" fmla="*/ 6361245 h 6858000"/>
              <a:gd name="connsiteX8" fmla="*/ 5401707 w 6096000"/>
              <a:gd name="connsiteY8" fmla="*/ 6295478 h 6858000"/>
              <a:gd name="connsiteX9" fmla="*/ 5414756 w 6096000"/>
              <a:gd name="connsiteY9" fmla="*/ 6299291 h 6858000"/>
              <a:gd name="connsiteX10" fmla="*/ 5419940 w 6096000"/>
              <a:gd name="connsiteY10" fmla="*/ 6309851 h 6858000"/>
              <a:gd name="connsiteX11" fmla="*/ 5412551 w 6096000"/>
              <a:gd name="connsiteY11" fmla="*/ 6326631 h 6858000"/>
              <a:gd name="connsiteX12" fmla="*/ 5398847 w 6096000"/>
              <a:gd name="connsiteY12" fmla="*/ 6339479 h 6858000"/>
              <a:gd name="connsiteX13" fmla="*/ 5388359 w 6096000"/>
              <a:gd name="connsiteY13" fmla="*/ 6326278 h 6858000"/>
              <a:gd name="connsiteX14" fmla="*/ 5382758 w 6096000"/>
              <a:gd name="connsiteY14" fmla="*/ 6309910 h 6858000"/>
              <a:gd name="connsiteX15" fmla="*/ 5382758 w 6096000"/>
              <a:gd name="connsiteY15" fmla="*/ 6309851 h 6858000"/>
              <a:gd name="connsiteX16" fmla="*/ 5387942 w 6096000"/>
              <a:gd name="connsiteY16" fmla="*/ 6299056 h 6858000"/>
              <a:gd name="connsiteX17" fmla="*/ 5401707 w 6096000"/>
              <a:gd name="connsiteY17" fmla="*/ 6295478 h 6858000"/>
              <a:gd name="connsiteX18" fmla="*/ 5214311 w 6096000"/>
              <a:gd name="connsiteY18" fmla="*/ 6282629 h 6858000"/>
              <a:gd name="connsiteX19" fmla="*/ 5214311 w 6096000"/>
              <a:gd name="connsiteY19" fmla="*/ 6298822 h 6858000"/>
              <a:gd name="connsiteX20" fmla="*/ 5266628 w 6096000"/>
              <a:gd name="connsiteY20" fmla="*/ 6298822 h 6858000"/>
              <a:gd name="connsiteX21" fmla="*/ 5266628 w 6096000"/>
              <a:gd name="connsiteY21" fmla="*/ 6445200 h 6858000"/>
              <a:gd name="connsiteX22" fmla="*/ 5284206 w 6096000"/>
              <a:gd name="connsiteY22" fmla="*/ 6445200 h 6858000"/>
              <a:gd name="connsiteX23" fmla="*/ 5284444 w 6096000"/>
              <a:gd name="connsiteY23" fmla="*/ 6298822 h 6858000"/>
              <a:gd name="connsiteX24" fmla="*/ 5335867 w 6096000"/>
              <a:gd name="connsiteY24" fmla="*/ 6298822 h 6858000"/>
              <a:gd name="connsiteX25" fmla="*/ 5335867 w 6096000"/>
              <a:gd name="connsiteY25" fmla="*/ 6282629 h 6858000"/>
              <a:gd name="connsiteX26" fmla="*/ 5400992 w 6096000"/>
              <a:gd name="connsiteY26" fmla="*/ 6279402 h 6858000"/>
              <a:gd name="connsiteX27" fmla="*/ 5375608 w 6096000"/>
              <a:gd name="connsiteY27" fmla="*/ 6286736 h 6858000"/>
              <a:gd name="connsiteX28" fmla="*/ 5363989 w 6096000"/>
              <a:gd name="connsiteY28" fmla="*/ 6309734 h 6858000"/>
              <a:gd name="connsiteX29" fmla="*/ 5371199 w 6096000"/>
              <a:gd name="connsiteY29" fmla="*/ 6332086 h 6858000"/>
              <a:gd name="connsiteX30" fmla="*/ 5384784 w 6096000"/>
              <a:gd name="connsiteY30" fmla="*/ 6349277 h 6858000"/>
              <a:gd name="connsiteX31" fmla="*/ 5364346 w 6096000"/>
              <a:gd name="connsiteY31" fmla="*/ 6363768 h 6858000"/>
              <a:gd name="connsiteX32" fmla="*/ 5344921 w 6096000"/>
              <a:gd name="connsiteY32" fmla="*/ 6399849 h 6858000"/>
              <a:gd name="connsiteX33" fmla="*/ 5362439 w 6096000"/>
              <a:gd name="connsiteY33" fmla="*/ 6435286 h 6858000"/>
              <a:gd name="connsiteX34" fmla="*/ 5405699 w 6096000"/>
              <a:gd name="connsiteY34" fmla="*/ 6448427 h 6858000"/>
              <a:gd name="connsiteX35" fmla="*/ 5433705 w 6096000"/>
              <a:gd name="connsiteY35" fmla="*/ 6442149 h 6858000"/>
              <a:gd name="connsiteX36" fmla="*/ 5455394 w 6096000"/>
              <a:gd name="connsiteY36" fmla="*/ 6424842 h 6858000"/>
              <a:gd name="connsiteX37" fmla="*/ 5474164 w 6096000"/>
              <a:gd name="connsiteY37" fmla="*/ 6445201 h 6858000"/>
              <a:gd name="connsiteX38" fmla="*/ 5498952 w 6096000"/>
              <a:gd name="connsiteY38" fmla="*/ 6445376 h 6858000"/>
              <a:gd name="connsiteX39" fmla="*/ 5466656 w 6096000"/>
              <a:gd name="connsiteY39" fmla="*/ 6410703 h 6858000"/>
              <a:gd name="connsiteX40" fmla="*/ 5466715 w 6096000"/>
              <a:gd name="connsiteY40" fmla="*/ 6410586 h 6858000"/>
              <a:gd name="connsiteX41" fmla="*/ 5476607 w 6096000"/>
              <a:gd name="connsiteY41" fmla="*/ 6386297 h 6858000"/>
              <a:gd name="connsiteX42" fmla="*/ 5482446 w 6096000"/>
              <a:gd name="connsiteY42" fmla="*/ 6341767 h 6858000"/>
              <a:gd name="connsiteX43" fmla="*/ 5482625 w 6096000"/>
              <a:gd name="connsiteY43" fmla="*/ 6340183 h 6858000"/>
              <a:gd name="connsiteX44" fmla="*/ 5463796 w 6096000"/>
              <a:gd name="connsiteY44" fmla="*/ 6340183 h 6858000"/>
              <a:gd name="connsiteX45" fmla="*/ 5463796 w 6096000"/>
              <a:gd name="connsiteY45" fmla="*/ 6341650 h 6858000"/>
              <a:gd name="connsiteX46" fmla="*/ 5461233 w 6096000"/>
              <a:gd name="connsiteY46" fmla="*/ 6372627 h 6858000"/>
              <a:gd name="connsiteX47" fmla="*/ 5454441 w 6096000"/>
              <a:gd name="connsiteY47" fmla="*/ 6398324 h 6858000"/>
              <a:gd name="connsiteX48" fmla="*/ 5409751 w 6096000"/>
              <a:gd name="connsiteY48" fmla="*/ 6351331 h 6858000"/>
              <a:gd name="connsiteX49" fmla="*/ 5428878 w 6096000"/>
              <a:gd name="connsiteY49" fmla="*/ 6334199 h 6858000"/>
              <a:gd name="connsiteX50" fmla="*/ 5438650 w 6096000"/>
              <a:gd name="connsiteY50" fmla="*/ 6309147 h 6858000"/>
              <a:gd name="connsiteX51" fmla="*/ 5426554 w 6096000"/>
              <a:gd name="connsiteY51" fmla="*/ 6286267 h 6858000"/>
              <a:gd name="connsiteX52" fmla="*/ 5400992 w 6096000"/>
              <a:gd name="connsiteY52" fmla="*/ 6279402 h 6858000"/>
              <a:gd name="connsiteX53" fmla="*/ 5556991 w 6096000"/>
              <a:gd name="connsiteY53" fmla="*/ 6279226 h 6858000"/>
              <a:gd name="connsiteX54" fmla="*/ 5520584 w 6096000"/>
              <a:gd name="connsiteY54" fmla="*/ 6290549 h 6858000"/>
              <a:gd name="connsiteX55" fmla="*/ 5503841 w 6096000"/>
              <a:gd name="connsiteY55" fmla="*/ 6323756 h 6858000"/>
              <a:gd name="connsiteX56" fmla="*/ 5527973 w 6096000"/>
              <a:gd name="connsiteY56" fmla="*/ 6360365 h 6858000"/>
              <a:gd name="connsiteX57" fmla="*/ 5571113 w 6096000"/>
              <a:gd name="connsiteY57" fmla="*/ 6376382 h 6858000"/>
              <a:gd name="connsiteX58" fmla="*/ 5588513 w 6096000"/>
              <a:gd name="connsiteY58" fmla="*/ 6385769 h 6858000"/>
              <a:gd name="connsiteX59" fmla="*/ 5595484 w 6096000"/>
              <a:gd name="connsiteY59" fmla="*/ 6402841 h 6858000"/>
              <a:gd name="connsiteX60" fmla="*/ 5583329 w 6096000"/>
              <a:gd name="connsiteY60" fmla="*/ 6424608 h 6858000"/>
              <a:gd name="connsiteX61" fmla="*/ 5557885 w 6096000"/>
              <a:gd name="connsiteY61" fmla="*/ 6432058 h 6858000"/>
              <a:gd name="connsiteX62" fmla="*/ 5530178 w 6096000"/>
              <a:gd name="connsiteY62" fmla="*/ 6425723 h 6858000"/>
              <a:gd name="connsiteX63" fmla="*/ 5518737 w 6096000"/>
              <a:gd name="connsiteY63" fmla="*/ 6402137 h 6858000"/>
              <a:gd name="connsiteX64" fmla="*/ 5518737 w 6096000"/>
              <a:gd name="connsiteY64" fmla="*/ 6400670 h 6858000"/>
              <a:gd name="connsiteX65" fmla="*/ 5500027 w 6096000"/>
              <a:gd name="connsiteY65" fmla="*/ 6400670 h 6858000"/>
              <a:gd name="connsiteX66" fmla="*/ 5500027 w 6096000"/>
              <a:gd name="connsiteY66" fmla="*/ 6402137 h 6858000"/>
              <a:gd name="connsiteX67" fmla="*/ 5514804 w 6096000"/>
              <a:gd name="connsiteY67" fmla="*/ 6435227 h 6858000"/>
              <a:gd name="connsiteX68" fmla="*/ 5549841 w 6096000"/>
              <a:gd name="connsiteY68" fmla="*/ 6448251 h 6858000"/>
              <a:gd name="connsiteX69" fmla="*/ 5594412 w 6096000"/>
              <a:gd name="connsiteY69" fmla="*/ 6438336 h 6858000"/>
              <a:gd name="connsiteX70" fmla="*/ 5614194 w 6096000"/>
              <a:gd name="connsiteY70" fmla="*/ 6401550 h 6858000"/>
              <a:gd name="connsiteX71" fmla="*/ 5589406 w 6096000"/>
              <a:gd name="connsiteY71" fmla="*/ 6365059 h 6858000"/>
              <a:gd name="connsiteX72" fmla="*/ 5545253 w 6096000"/>
              <a:gd name="connsiteY72" fmla="*/ 6348983 h 6858000"/>
              <a:gd name="connsiteX73" fmla="*/ 5522551 w 6096000"/>
              <a:gd name="connsiteY73" fmla="*/ 6321820 h 6858000"/>
              <a:gd name="connsiteX74" fmla="*/ 5534408 w 6096000"/>
              <a:gd name="connsiteY74" fmla="*/ 6301872 h 6858000"/>
              <a:gd name="connsiteX75" fmla="*/ 5558779 w 6096000"/>
              <a:gd name="connsiteY75" fmla="*/ 6295477 h 6858000"/>
              <a:gd name="connsiteX76" fmla="*/ 5582077 w 6096000"/>
              <a:gd name="connsiteY76" fmla="*/ 6300347 h 6858000"/>
              <a:gd name="connsiteX77" fmla="*/ 5592564 w 6096000"/>
              <a:gd name="connsiteY77" fmla="*/ 6318769 h 6858000"/>
              <a:gd name="connsiteX78" fmla="*/ 5592564 w 6096000"/>
              <a:gd name="connsiteY78" fmla="*/ 6320236 h 6858000"/>
              <a:gd name="connsiteX79" fmla="*/ 5611453 w 6096000"/>
              <a:gd name="connsiteY79" fmla="*/ 6320236 h 6858000"/>
              <a:gd name="connsiteX80" fmla="*/ 5611275 w 6096000"/>
              <a:gd name="connsiteY80" fmla="*/ 6318593 h 6858000"/>
              <a:gd name="connsiteX81" fmla="*/ 5590777 w 6096000"/>
              <a:gd name="connsiteY81" fmla="*/ 6286736 h 6858000"/>
              <a:gd name="connsiteX82" fmla="*/ 5556991 w 6096000"/>
              <a:gd name="connsiteY82" fmla="*/ 6279226 h 6858000"/>
              <a:gd name="connsiteX83" fmla="*/ 0 w 6096000"/>
              <a:gd name="connsiteY83" fmla="*/ 0 h 6858000"/>
              <a:gd name="connsiteX84" fmla="*/ 6096000 w 6096000"/>
              <a:gd name="connsiteY84" fmla="*/ 0 h 6858000"/>
              <a:gd name="connsiteX85" fmla="*/ 6096000 w 6096000"/>
              <a:gd name="connsiteY85" fmla="*/ 6858000 h 6858000"/>
              <a:gd name="connsiteX86" fmla="*/ 0 w 6096000"/>
              <a:gd name="connsiteY8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96000" h="6858000">
                <a:moveTo>
                  <a:pt x="5395808" y="6361245"/>
                </a:moveTo>
                <a:lnTo>
                  <a:pt x="5444847" y="6413168"/>
                </a:lnTo>
                <a:cubicBezTo>
                  <a:pt x="5438829" y="6419269"/>
                  <a:pt x="5432692" y="6423962"/>
                  <a:pt x="5426554" y="6427130"/>
                </a:cubicBezTo>
                <a:cubicBezTo>
                  <a:pt x="5420119" y="6430416"/>
                  <a:pt x="5412671" y="6432117"/>
                  <a:pt x="5404448" y="6432117"/>
                </a:cubicBezTo>
                <a:cubicBezTo>
                  <a:pt x="5393186" y="6432117"/>
                  <a:pt x="5383592" y="6428949"/>
                  <a:pt x="5375965" y="6422730"/>
                </a:cubicBezTo>
                <a:cubicBezTo>
                  <a:pt x="5367802" y="6416159"/>
                  <a:pt x="5363691" y="6407359"/>
                  <a:pt x="5363691" y="6396681"/>
                </a:cubicBezTo>
                <a:cubicBezTo>
                  <a:pt x="5363691" y="6391108"/>
                  <a:pt x="5367921" y="6384244"/>
                  <a:pt x="5376204" y="6376323"/>
                </a:cubicBezTo>
                <a:cubicBezTo>
                  <a:pt x="5381567" y="6371337"/>
                  <a:pt x="5388121" y="6366291"/>
                  <a:pt x="5395808" y="6361245"/>
                </a:cubicBezTo>
                <a:close/>
                <a:moveTo>
                  <a:pt x="5401707" y="6295478"/>
                </a:moveTo>
                <a:cubicBezTo>
                  <a:pt x="5406772" y="6295478"/>
                  <a:pt x="5411181" y="6296769"/>
                  <a:pt x="5414756" y="6299291"/>
                </a:cubicBezTo>
                <a:cubicBezTo>
                  <a:pt x="5418272" y="6301755"/>
                  <a:pt x="5419940" y="6305217"/>
                  <a:pt x="5419940" y="6309851"/>
                </a:cubicBezTo>
                <a:cubicBezTo>
                  <a:pt x="5419940" y="6315484"/>
                  <a:pt x="5417437" y="6321174"/>
                  <a:pt x="5412551" y="6326631"/>
                </a:cubicBezTo>
                <a:cubicBezTo>
                  <a:pt x="5407963" y="6330972"/>
                  <a:pt x="5403435" y="6335255"/>
                  <a:pt x="5398847" y="6339479"/>
                </a:cubicBezTo>
                <a:cubicBezTo>
                  <a:pt x="5394199" y="6334434"/>
                  <a:pt x="5390683" y="6329974"/>
                  <a:pt x="5388359" y="6326278"/>
                </a:cubicBezTo>
                <a:cubicBezTo>
                  <a:pt x="5384605" y="6320412"/>
                  <a:pt x="5382758" y="6314838"/>
                  <a:pt x="5382758" y="6309910"/>
                </a:cubicBezTo>
                <a:lnTo>
                  <a:pt x="5382758" y="6309851"/>
                </a:lnTo>
                <a:cubicBezTo>
                  <a:pt x="5382758" y="6304923"/>
                  <a:pt x="5384427" y="6301344"/>
                  <a:pt x="5387942" y="6299056"/>
                </a:cubicBezTo>
                <a:cubicBezTo>
                  <a:pt x="5391577" y="6296651"/>
                  <a:pt x="5396225" y="6295478"/>
                  <a:pt x="5401707" y="6295478"/>
                </a:cubicBezTo>
                <a:close/>
                <a:moveTo>
                  <a:pt x="5214311" y="6282629"/>
                </a:moveTo>
                <a:lnTo>
                  <a:pt x="5214311" y="6298822"/>
                </a:lnTo>
                <a:lnTo>
                  <a:pt x="5266628" y="6298822"/>
                </a:lnTo>
                <a:lnTo>
                  <a:pt x="5266628" y="6445200"/>
                </a:lnTo>
                <a:lnTo>
                  <a:pt x="5284206" y="6445200"/>
                </a:lnTo>
                <a:lnTo>
                  <a:pt x="5284444" y="6298822"/>
                </a:lnTo>
                <a:lnTo>
                  <a:pt x="5335867" y="6298822"/>
                </a:lnTo>
                <a:lnTo>
                  <a:pt x="5335867" y="6282629"/>
                </a:lnTo>
                <a:close/>
                <a:moveTo>
                  <a:pt x="5400992" y="6279402"/>
                </a:moveTo>
                <a:cubicBezTo>
                  <a:pt x="5390862" y="6279402"/>
                  <a:pt x="5382460" y="6281867"/>
                  <a:pt x="5375608" y="6286736"/>
                </a:cubicBezTo>
                <a:cubicBezTo>
                  <a:pt x="5367921" y="6292309"/>
                  <a:pt x="5363989" y="6300053"/>
                  <a:pt x="5363989" y="6309734"/>
                </a:cubicBezTo>
                <a:cubicBezTo>
                  <a:pt x="5363989" y="6317067"/>
                  <a:pt x="5366432" y="6324577"/>
                  <a:pt x="5371199" y="6332086"/>
                </a:cubicBezTo>
                <a:cubicBezTo>
                  <a:pt x="5373642" y="6336076"/>
                  <a:pt x="5378230" y="6341884"/>
                  <a:pt x="5384784" y="6349277"/>
                </a:cubicBezTo>
                <a:cubicBezTo>
                  <a:pt x="5374952" y="6355672"/>
                  <a:pt x="5368040" y="6360541"/>
                  <a:pt x="5364346" y="6363768"/>
                </a:cubicBezTo>
                <a:cubicBezTo>
                  <a:pt x="5351475" y="6374504"/>
                  <a:pt x="5344921" y="6386590"/>
                  <a:pt x="5344921" y="6399849"/>
                </a:cubicBezTo>
                <a:cubicBezTo>
                  <a:pt x="5344921" y="6414576"/>
                  <a:pt x="5350820" y="6426485"/>
                  <a:pt x="5362439" y="6435286"/>
                </a:cubicBezTo>
                <a:cubicBezTo>
                  <a:pt x="5373940" y="6443968"/>
                  <a:pt x="5388538" y="6448427"/>
                  <a:pt x="5405699" y="6448427"/>
                </a:cubicBezTo>
                <a:cubicBezTo>
                  <a:pt x="5416067" y="6448427"/>
                  <a:pt x="5425482" y="6446315"/>
                  <a:pt x="5433705" y="6442149"/>
                </a:cubicBezTo>
                <a:cubicBezTo>
                  <a:pt x="5441451" y="6438219"/>
                  <a:pt x="5448720" y="6432411"/>
                  <a:pt x="5455394" y="6424842"/>
                </a:cubicBezTo>
                <a:lnTo>
                  <a:pt x="5474164" y="6445201"/>
                </a:lnTo>
                <a:lnTo>
                  <a:pt x="5498952" y="6445376"/>
                </a:lnTo>
                <a:lnTo>
                  <a:pt x="5466656" y="6410703"/>
                </a:lnTo>
                <a:lnTo>
                  <a:pt x="5466715" y="6410586"/>
                </a:lnTo>
                <a:cubicBezTo>
                  <a:pt x="5471125" y="6402959"/>
                  <a:pt x="5474462" y="6394745"/>
                  <a:pt x="5476607" y="6386297"/>
                </a:cubicBezTo>
                <a:cubicBezTo>
                  <a:pt x="5478275" y="6379608"/>
                  <a:pt x="5480241" y="6364589"/>
                  <a:pt x="5482446" y="6341767"/>
                </a:cubicBezTo>
                <a:lnTo>
                  <a:pt x="5482625" y="6340183"/>
                </a:lnTo>
                <a:lnTo>
                  <a:pt x="5463796" y="6340183"/>
                </a:lnTo>
                <a:lnTo>
                  <a:pt x="5463796" y="6341650"/>
                </a:lnTo>
                <a:cubicBezTo>
                  <a:pt x="5463796" y="6351154"/>
                  <a:pt x="5462902" y="6361597"/>
                  <a:pt x="5461233" y="6372627"/>
                </a:cubicBezTo>
                <a:cubicBezTo>
                  <a:pt x="5459684" y="6382660"/>
                  <a:pt x="5457420" y="6391284"/>
                  <a:pt x="5454441" y="6398324"/>
                </a:cubicBezTo>
                <a:lnTo>
                  <a:pt x="5409751" y="6351331"/>
                </a:lnTo>
                <a:cubicBezTo>
                  <a:pt x="5418570" y="6344642"/>
                  <a:pt x="5425005" y="6338892"/>
                  <a:pt x="5428878" y="6334199"/>
                </a:cubicBezTo>
                <a:cubicBezTo>
                  <a:pt x="5435373" y="6326454"/>
                  <a:pt x="5438650" y="6318007"/>
                  <a:pt x="5438650" y="6309147"/>
                </a:cubicBezTo>
                <a:cubicBezTo>
                  <a:pt x="5438650" y="6299408"/>
                  <a:pt x="5434598" y="6291723"/>
                  <a:pt x="5426554" y="6286267"/>
                </a:cubicBezTo>
                <a:cubicBezTo>
                  <a:pt x="5419761" y="6281690"/>
                  <a:pt x="5411121" y="6279402"/>
                  <a:pt x="5400992" y="6279402"/>
                </a:cubicBezTo>
                <a:close/>
                <a:moveTo>
                  <a:pt x="5556991" y="6279226"/>
                </a:moveTo>
                <a:cubicBezTo>
                  <a:pt x="5542810" y="6279226"/>
                  <a:pt x="5530535" y="6283040"/>
                  <a:pt x="5520584" y="6290549"/>
                </a:cubicBezTo>
                <a:cubicBezTo>
                  <a:pt x="5509442" y="6298880"/>
                  <a:pt x="5503841" y="6310086"/>
                  <a:pt x="5503841" y="6323756"/>
                </a:cubicBezTo>
                <a:cubicBezTo>
                  <a:pt x="5503841" y="6339128"/>
                  <a:pt x="5511944" y="6351448"/>
                  <a:pt x="5527973" y="6360365"/>
                </a:cubicBezTo>
                <a:cubicBezTo>
                  <a:pt x="5533514" y="6363358"/>
                  <a:pt x="5547577" y="6368637"/>
                  <a:pt x="5571113" y="6376382"/>
                </a:cubicBezTo>
                <a:cubicBezTo>
                  <a:pt x="5578621" y="6378787"/>
                  <a:pt x="5584520" y="6381955"/>
                  <a:pt x="5588513" y="6385769"/>
                </a:cubicBezTo>
                <a:cubicBezTo>
                  <a:pt x="5593101" y="6390169"/>
                  <a:pt x="5595484" y="6395919"/>
                  <a:pt x="5595484" y="6402841"/>
                </a:cubicBezTo>
                <a:cubicBezTo>
                  <a:pt x="5595484" y="6411994"/>
                  <a:pt x="5591492" y="6419093"/>
                  <a:pt x="5583329" y="6424608"/>
                </a:cubicBezTo>
                <a:cubicBezTo>
                  <a:pt x="5575999" y="6429536"/>
                  <a:pt x="5567419" y="6432058"/>
                  <a:pt x="5557885" y="6432058"/>
                </a:cubicBezTo>
                <a:cubicBezTo>
                  <a:pt x="5546087" y="6432058"/>
                  <a:pt x="5536792" y="6429946"/>
                  <a:pt x="5530178" y="6425723"/>
                </a:cubicBezTo>
                <a:cubicBezTo>
                  <a:pt x="5522491" y="6420676"/>
                  <a:pt x="5518737" y="6412992"/>
                  <a:pt x="5518737" y="6402137"/>
                </a:cubicBezTo>
                <a:lnTo>
                  <a:pt x="5518737" y="6400670"/>
                </a:lnTo>
                <a:lnTo>
                  <a:pt x="5500027" y="6400670"/>
                </a:lnTo>
                <a:lnTo>
                  <a:pt x="5500027" y="6402137"/>
                </a:lnTo>
                <a:cubicBezTo>
                  <a:pt x="5500027" y="6415397"/>
                  <a:pt x="5504973" y="6426544"/>
                  <a:pt x="5514804" y="6435227"/>
                </a:cubicBezTo>
                <a:cubicBezTo>
                  <a:pt x="5524517" y="6443851"/>
                  <a:pt x="5536315" y="6448251"/>
                  <a:pt x="5549841" y="6448251"/>
                </a:cubicBezTo>
                <a:cubicBezTo>
                  <a:pt x="5568432" y="6448251"/>
                  <a:pt x="5583448" y="6444907"/>
                  <a:pt x="5594412" y="6438336"/>
                </a:cubicBezTo>
                <a:cubicBezTo>
                  <a:pt x="5607580" y="6430416"/>
                  <a:pt x="5614194" y="6418037"/>
                  <a:pt x="5614194" y="6401550"/>
                </a:cubicBezTo>
                <a:cubicBezTo>
                  <a:pt x="5614194" y="6385065"/>
                  <a:pt x="5605912" y="6373331"/>
                  <a:pt x="5589406" y="6365059"/>
                </a:cubicBezTo>
                <a:cubicBezTo>
                  <a:pt x="5574629" y="6359779"/>
                  <a:pt x="5559732" y="6354381"/>
                  <a:pt x="5545253" y="6348983"/>
                </a:cubicBezTo>
                <a:cubicBezTo>
                  <a:pt x="5529999" y="6342530"/>
                  <a:pt x="5522551" y="6333671"/>
                  <a:pt x="5522551" y="6321820"/>
                </a:cubicBezTo>
                <a:cubicBezTo>
                  <a:pt x="5522551" y="6313313"/>
                  <a:pt x="5526424" y="6306801"/>
                  <a:pt x="5534408" y="6301872"/>
                </a:cubicBezTo>
                <a:cubicBezTo>
                  <a:pt x="5541320" y="6297648"/>
                  <a:pt x="5549543" y="6295477"/>
                  <a:pt x="5558779" y="6295477"/>
                </a:cubicBezTo>
                <a:cubicBezTo>
                  <a:pt x="5568015" y="6295477"/>
                  <a:pt x="5576178" y="6297120"/>
                  <a:pt x="5582077" y="6300347"/>
                </a:cubicBezTo>
                <a:cubicBezTo>
                  <a:pt x="5589108" y="6304219"/>
                  <a:pt x="5592564" y="6310262"/>
                  <a:pt x="5592564" y="6318769"/>
                </a:cubicBezTo>
                <a:lnTo>
                  <a:pt x="5592564" y="6320236"/>
                </a:lnTo>
                <a:lnTo>
                  <a:pt x="5611453" y="6320236"/>
                </a:lnTo>
                <a:lnTo>
                  <a:pt x="5611275" y="6318593"/>
                </a:lnTo>
                <a:cubicBezTo>
                  <a:pt x="5609547" y="6304160"/>
                  <a:pt x="5602694" y="6293424"/>
                  <a:pt x="5590777" y="6286736"/>
                </a:cubicBezTo>
                <a:cubicBezTo>
                  <a:pt x="5581899" y="6281749"/>
                  <a:pt x="5570518" y="6279226"/>
                  <a:pt x="5556991" y="6279226"/>
                </a:cubicBezTo>
                <a:close/>
                <a:moveTo>
                  <a:pt x="0" y="0"/>
                </a:moveTo>
                <a:lnTo>
                  <a:pt x="6096000" y="0"/>
                </a:lnTo>
                <a:lnTo>
                  <a:pt x="6096000" y="6858000"/>
                </a:lnTo>
                <a:lnTo>
                  <a:pt x="0" y="6858000"/>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5" name="Graphic BG Light Grey">
            <a:extLst>
              <a:ext uri="{FF2B5EF4-FFF2-40B4-BE49-F238E27FC236}">
                <a16:creationId xmlns:a16="http://schemas.microsoft.com/office/drawing/2014/main" id="{C442F78A-96DE-42DF-9316-383FB36318F5}"/>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 Placeholder 2">
            <a:extLst>
              <a:ext uri="{FF2B5EF4-FFF2-40B4-BE49-F238E27FC236}">
                <a16:creationId xmlns:a16="http://schemas.microsoft.com/office/drawing/2014/main" id="{CD9FDD86-FD4F-49DD-A9EF-1E913FC8A102}"/>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hart Placeholder 12">
            <a:extLst>
              <a:ext uri="{FF2B5EF4-FFF2-40B4-BE49-F238E27FC236}">
                <a16:creationId xmlns:a16="http://schemas.microsoft.com/office/drawing/2014/main" id="{5CBD2158-345E-4B50-BB06-1DAC0D928B14}"/>
              </a:ext>
            </a:extLst>
          </p:cNvPr>
          <p:cNvSpPr>
            <a:spLocks noGrp="1"/>
          </p:cNvSpPr>
          <p:nvPr>
            <p:ph type="chart" sz="quarter" idx="17"/>
          </p:nvPr>
        </p:nvSpPr>
        <p:spPr>
          <a:xfrm>
            <a:off x="407988" y="3688550"/>
            <a:ext cx="2455200" cy="2084400"/>
          </a:xfrm>
        </p:spPr>
        <p:txBody>
          <a:bodyPr/>
          <a:lstStyle/>
          <a:p>
            <a:endParaRPr lang="en-GB"/>
          </a:p>
        </p:txBody>
      </p:sp>
      <p:sp>
        <p:nvSpPr>
          <p:cNvPr id="18" name="Chart Placeholder 12">
            <a:extLst>
              <a:ext uri="{FF2B5EF4-FFF2-40B4-BE49-F238E27FC236}">
                <a16:creationId xmlns:a16="http://schemas.microsoft.com/office/drawing/2014/main" id="{0F55CB27-5EB2-46D0-9FAC-F7EABFDEF6CB}"/>
              </a:ext>
            </a:extLst>
          </p:cNvPr>
          <p:cNvSpPr>
            <a:spLocks noGrp="1"/>
          </p:cNvSpPr>
          <p:nvPr>
            <p:ph type="chart" sz="quarter" idx="18"/>
          </p:nvPr>
        </p:nvSpPr>
        <p:spPr>
          <a:xfrm>
            <a:off x="3252788" y="3688550"/>
            <a:ext cx="2455200" cy="2084400"/>
          </a:xfrm>
        </p:spPr>
        <p:txBody>
          <a:bodyPr/>
          <a:lstStyle/>
          <a:p>
            <a:endParaRPr lang="en-GB"/>
          </a:p>
        </p:txBody>
      </p:sp>
    </p:spTree>
    <p:extLst>
      <p:ext uri="{BB962C8B-B14F-4D97-AF65-F5344CB8AC3E}">
        <p14:creationId xmlns:p14="http://schemas.microsoft.com/office/powerpoint/2010/main" val="315369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Chart Placeholder 2">
            <a:extLst>
              <a:ext uri="{FF2B5EF4-FFF2-40B4-BE49-F238E27FC236}">
                <a16:creationId xmlns:a16="http://schemas.microsoft.com/office/drawing/2014/main" id="{AEC05E66-E0CC-4C64-9F7D-586A8A44CAF8}"/>
              </a:ext>
            </a:extLst>
          </p:cNvPr>
          <p:cNvSpPr>
            <a:spLocks noGrp="1"/>
          </p:cNvSpPr>
          <p:nvPr>
            <p:ph type="chart" sz="quarter" idx="15"/>
          </p:nvPr>
        </p:nvSpPr>
        <p:spPr>
          <a:xfrm>
            <a:off x="1157208" y="1736725"/>
            <a:ext cx="2988000" cy="2350800"/>
          </a:xfrm>
        </p:spPr>
        <p:txBody>
          <a:bodyPr anchor="ctr"/>
          <a:lstStyle>
            <a:lvl1pPr algn="ctr">
              <a:defRPr/>
            </a:lvl1pPr>
          </a:lstStyle>
          <a:p>
            <a:endParaRPr lang="en-GB"/>
          </a:p>
        </p:txBody>
      </p:sp>
      <p:sp>
        <p:nvSpPr>
          <p:cNvPr id="10" name="Chart Placeholder 2">
            <a:extLst>
              <a:ext uri="{FF2B5EF4-FFF2-40B4-BE49-F238E27FC236}">
                <a16:creationId xmlns:a16="http://schemas.microsoft.com/office/drawing/2014/main" id="{76D80B3F-D812-481F-82AC-1D74EAAA78EE}"/>
              </a:ext>
            </a:extLst>
          </p:cNvPr>
          <p:cNvSpPr>
            <a:spLocks noGrp="1"/>
          </p:cNvSpPr>
          <p:nvPr>
            <p:ph type="chart" sz="quarter" idx="16"/>
          </p:nvPr>
        </p:nvSpPr>
        <p:spPr>
          <a:xfrm>
            <a:off x="4602083" y="1736725"/>
            <a:ext cx="2988000" cy="2350800"/>
          </a:xfrm>
        </p:spPr>
        <p:txBody>
          <a:bodyPr anchor="ctr"/>
          <a:lstStyle>
            <a:lvl1pPr algn="ctr">
              <a:defRPr/>
            </a:lvl1pPr>
          </a:lstStyle>
          <a:p>
            <a:endParaRPr lang="en-GB"/>
          </a:p>
        </p:txBody>
      </p:sp>
      <p:sp>
        <p:nvSpPr>
          <p:cNvPr id="12" name="Chart Placeholder 2">
            <a:extLst>
              <a:ext uri="{FF2B5EF4-FFF2-40B4-BE49-F238E27FC236}">
                <a16:creationId xmlns:a16="http://schemas.microsoft.com/office/drawing/2014/main" id="{F5A8F7B5-1807-499C-BF59-17F37615B512}"/>
              </a:ext>
            </a:extLst>
          </p:cNvPr>
          <p:cNvSpPr>
            <a:spLocks noGrp="1"/>
          </p:cNvSpPr>
          <p:nvPr>
            <p:ph type="chart" sz="quarter" idx="17"/>
          </p:nvPr>
        </p:nvSpPr>
        <p:spPr>
          <a:xfrm>
            <a:off x="8046958" y="1736725"/>
            <a:ext cx="2988000" cy="2350800"/>
          </a:xfrm>
        </p:spPr>
        <p:txBody>
          <a:bodyPr anchor="ctr"/>
          <a:lstStyle>
            <a:lvl1pPr algn="ctr">
              <a:defRPr/>
            </a:lvl1pPr>
          </a:lstStyle>
          <a:p>
            <a:endParaRPr lang="en-GB"/>
          </a:p>
        </p:txBody>
      </p:sp>
      <p:sp>
        <p:nvSpPr>
          <p:cNvPr id="8" name="Text Placeholder 7">
            <a:extLst>
              <a:ext uri="{FF2B5EF4-FFF2-40B4-BE49-F238E27FC236}">
                <a16:creationId xmlns:a16="http://schemas.microsoft.com/office/drawing/2014/main" id="{5CB32C12-A597-4E0F-BA16-BB32E08E79E1}"/>
              </a:ext>
            </a:extLst>
          </p:cNvPr>
          <p:cNvSpPr>
            <a:spLocks noGrp="1"/>
          </p:cNvSpPr>
          <p:nvPr>
            <p:ph type="body" sz="quarter" idx="18"/>
          </p:nvPr>
        </p:nvSpPr>
        <p:spPr>
          <a:xfrm>
            <a:off x="1595438" y="4241800"/>
            <a:ext cx="2549525" cy="1790700"/>
          </a:xfrm>
        </p:spPr>
        <p:txBody>
          <a:bodyPr/>
          <a:lstStyle>
            <a:lvl5pPr>
              <a:defRPr/>
            </a:lvl5pPr>
            <a:lvl6pPr>
              <a:defRPr/>
            </a:lvl6pPr>
            <a:lvl7pP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a:extLst>
              <a:ext uri="{FF2B5EF4-FFF2-40B4-BE49-F238E27FC236}">
                <a16:creationId xmlns:a16="http://schemas.microsoft.com/office/drawing/2014/main" id="{C7E3159A-180D-4E8F-BDF9-1F7E1C416209}"/>
              </a:ext>
            </a:extLst>
          </p:cNvPr>
          <p:cNvSpPr>
            <a:spLocks noGrp="1"/>
          </p:cNvSpPr>
          <p:nvPr>
            <p:ph type="body" sz="quarter" idx="19"/>
          </p:nvPr>
        </p:nvSpPr>
        <p:spPr>
          <a:xfrm>
            <a:off x="5040558" y="4241800"/>
            <a:ext cx="2549525" cy="1790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708A4B84-8315-487C-8E37-AADACD11EABA}"/>
              </a:ext>
            </a:extLst>
          </p:cNvPr>
          <p:cNvSpPr>
            <a:spLocks noGrp="1"/>
          </p:cNvSpPr>
          <p:nvPr>
            <p:ph type="body" sz="quarter" idx="20"/>
          </p:nvPr>
        </p:nvSpPr>
        <p:spPr>
          <a:xfrm>
            <a:off x="8485433" y="4241800"/>
            <a:ext cx="2549525" cy="1790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7610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6 Squa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86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2">
            <a:extLst>
              <a:ext uri="{FF2B5EF4-FFF2-40B4-BE49-F238E27FC236}">
                <a16:creationId xmlns:a16="http://schemas.microsoft.com/office/drawing/2014/main" id="{29CE1DF0-1871-4761-8A2D-6ADE54176FE2}"/>
              </a:ext>
            </a:extLst>
          </p:cNvPr>
          <p:cNvSpPr>
            <a:spLocks noGrp="1"/>
          </p:cNvSpPr>
          <p:nvPr>
            <p:ph type="pic" sz="quarter" idx="34"/>
          </p:nvPr>
        </p:nvSpPr>
        <p:spPr>
          <a:xfrm>
            <a:off x="9097230" y="1921490"/>
            <a:ext cx="1134000" cy="1134000"/>
          </a:xfrm>
          <a:solidFill>
            <a:schemeClr val="bg2"/>
          </a:solidFill>
        </p:spPr>
        <p:txBody>
          <a:bodyPr anchor="ctr">
            <a:normAutofit/>
          </a:bodyPr>
          <a:lstStyle>
            <a:lvl1pPr algn="ctr">
              <a:defRPr sz="1400"/>
            </a:lvl1pPr>
          </a:lstStyle>
          <a:p>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Picture Placeholder 2">
            <a:extLst>
              <a:ext uri="{FF2B5EF4-FFF2-40B4-BE49-F238E27FC236}">
                <a16:creationId xmlns:a16="http://schemas.microsoft.com/office/drawing/2014/main" id="{8B371179-F5B6-4BF6-8415-6E33BAC6A467}"/>
              </a:ext>
            </a:extLst>
          </p:cNvPr>
          <p:cNvSpPr>
            <a:spLocks noGrp="1"/>
          </p:cNvSpPr>
          <p:nvPr>
            <p:ph type="pic" sz="quarter" idx="15"/>
          </p:nvPr>
        </p:nvSpPr>
        <p:spPr>
          <a:xfrm>
            <a:off x="1963211" y="1921490"/>
            <a:ext cx="1134000" cy="1134000"/>
          </a:xfrm>
          <a:solidFill>
            <a:schemeClr val="bg2"/>
          </a:solidFill>
        </p:spPr>
        <p:txBody>
          <a:bodyPr anchor="ctr">
            <a:normAutofit/>
          </a:bodyPr>
          <a:lstStyle>
            <a:lvl1pPr algn="ctr">
              <a:defRPr sz="1400"/>
            </a:lvl1pPr>
          </a:lstStyle>
          <a:p>
            <a:endParaRPr lang="en-GB"/>
          </a:p>
        </p:txBody>
      </p:sp>
      <p:sp>
        <p:nvSpPr>
          <p:cNvPr id="15" name="Picture Placeholder 2">
            <a:extLst>
              <a:ext uri="{FF2B5EF4-FFF2-40B4-BE49-F238E27FC236}">
                <a16:creationId xmlns:a16="http://schemas.microsoft.com/office/drawing/2014/main" id="{A7F0C854-367C-45D6-8058-A61CBBBEF980}"/>
              </a:ext>
            </a:extLst>
          </p:cNvPr>
          <p:cNvSpPr>
            <a:spLocks noGrp="1"/>
          </p:cNvSpPr>
          <p:nvPr>
            <p:ph type="pic" sz="quarter" idx="33"/>
          </p:nvPr>
        </p:nvSpPr>
        <p:spPr>
          <a:xfrm>
            <a:off x="5530221" y="1921490"/>
            <a:ext cx="1134000" cy="1134000"/>
          </a:xfrm>
          <a:solidFill>
            <a:schemeClr val="bg2"/>
          </a:solidFill>
        </p:spPr>
        <p:txBody>
          <a:bodyPr anchor="ctr">
            <a:normAutofit/>
          </a:bodyPr>
          <a:lstStyle>
            <a:lvl1pPr algn="ctr">
              <a:defRPr sz="1400"/>
            </a:lvl1pPr>
          </a:lstStyle>
          <a:p>
            <a:endParaRPr lang="en-GB"/>
          </a:p>
        </p:txBody>
      </p:sp>
      <p:sp>
        <p:nvSpPr>
          <p:cNvPr id="33" name="Picture Placeholder 2">
            <a:extLst>
              <a:ext uri="{FF2B5EF4-FFF2-40B4-BE49-F238E27FC236}">
                <a16:creationId xmlns:a16="http://schemas.microsoft.com/office/drawing/2014/main" id="{8E086BCE-2C57-44C8-8382-B4F1E68C9190}"/>
              </a:ext>
            </a:extLst>
          </p:cNvPr>
          <p:cNvSpPr>
            <a:spLocks noGrp="1"/>
          </p:cNvSpPr>
          <p:nvPr>
            <p:ph type="pic" sz="quarter" idx="42"/>
          </p:nvPr>
        </p:nvSpPr>
        <p:spPr>
          <a:xfrm>
            <a:off x="9097230" y="4067790"/>
            <a:ext cx="1134000" cy="1134000"/>
          </a:xfrm>
          <a:solidFill>
            <a:schemeClr val="bg2"/>
          </a:solidFill>
        </p:spPr>
        <p:txBody>
          <a:bodyPr anchor="ctr">
            <a:normAutofit/>
          </a:bodyPr>
          <a:lstStyle>
            <a:lvl1pPr algn="ctr">
              <a:defRPr sz="1400"/>
            </a:lvl1pPr>
          </a:lstStyle>
          <a:p>
            <a:endParaRPr lang="en-GB"/>
          </a:p>
        </p:txBody>
      </p:sp>
      <p:sp>
        <p:nvSpPr>
          <p:cNvPr id="34" name="Picture Placeholder 2">
            <a:extLst>
              <a:ext uri="{FF2B5EF4-FFF2-40B4-BE49-F238E27FC236}">
                <a16:creationId xmlns:a16="http://schemas.microsoft.com/office/drawing/2014/main" id="{B42BC73E-976B-4798-BA88-23F8798DE3B1}"/>
              </a:ext>
            </a:extLst>
          </p:cNvPr>
          <p:cNvSpPr>
            <a:spLocks noGrp="1"/>
          </p:cNvSpPr>
          <p:nvPr>
            <p:ph type="pic" sz="quarter" idx="43"/>
          </p:nvPr>
        </p:nvSpPr>
        <p:spPr>
          <a:xfrm>
            <a:off x="1963211" y="4067790"/>
            <a:ext cx="1134000" cy="1134000"/>
          </a:xfrm>
          <a:solidFill>
            <a:schemeClr val="bg2"/>
          </a:solidFill>
        </p:spPr>
        <p:txBody>
          <a:bodyPr anchor="ctr">
            <a:normAutofit/>
          </a:bodyPr>
          <a:lstStyle>
            <a:lvl1pPr algn="ctr">
              <a:defRPr sz="1400"/>
            </a:lvl1pPr>
          </a:lstStyle>
          <a:p>
            <a:endParaRPr lang="en-GB"/>
          </a:p>
        </p:txBody>
      </p:sp>
      <p:sp>
        <p:nvSpPr>
          <p:cNvPr id="35" name="Picture Placeholder 2">
            <a:extLst>
              <a:ext uri="{FF2B5EF4-FFF2-40B4-BE49-F238E27FC236}">
                <a16:creationId xmlns:a16="http://schemas.microsoft.com/office/drawing/2014/main" id="{27EA5A29-E5FE-490B-9DB6-93ADB953302D}"/>
              </a:ext>
            </a:extLst>
          </p:cNvPr>
          <p:cNvSpPr>
            <a:spLocks noGrp="1"/>
          </p:cNvSpPr>
          <p:nvPr>
            <p:ph type="pic" sz="quarter" idx="44"/>
          </p:nvPr>
        </p:nvSpPr>
        <p:spPr>
          <a:xfrm>
            <a:off x="5530221" y="4067790"/>
            <a:ext cx="1134000" cy="1134000"/>
          </a:xfrm>
          <a:solidFill>
            <a:schemeClr val="bg2"/>
          </a:solidFill>
        </p:spPr>
        <p:txBody>
          <a:bodyPr anchor="ctr">
            <a:normAutofit/>
          </a:bodyPr>
          <a:lstStyle>
            <a:lvl1pPr algn="ctr">
              <a:defRPr sz="1400"/>
            </a:lvl1pPr>
          </a:lstStyle>
          <a:p>
            <a:endParaRPr lang="en-GB"/>
          </a:p>
        </p:txBody>
      </p:sp>
      <p:sp>
        <p:nvSpPr>
          <p:cNvPr id="19" name="Text Placeholder 8">
            <a:extLst>
              <a:ext uri="{FF2B5EF4-FFF2-40B4-BE49-F238E27FC236}">
                <a16:creationId xmlns:a16="http://schemas.microsoft.com/office/drawing/2014/main" id="{9C43E80F-25B2-4146-AF36-98538A1CE064}"/>
              </a:ext>
            </a:extLst>
          </p:cNvPr>
          <p:cNvSpPr>
            <a:spLocks noGrp="1"/>
          </p:cNvSpPr>
          <p:nvPr>
            <p:ph type="body" sz="quarter" idx="48" hasCustomPrompt="1"/>
          </p:nvPr>
        </p:nvSpPr>
        <p:spPr>
          <a:xfrm>
            <a:off x="1206970"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6" name="Text Placeholder 8">
            <a:extLst>
              <a:ext uri="{FF2B5EF4-FFF2-40B4-BE49-F238E27FC236}">
                <a16:creationId xmlns:a16="http://schemas.microsoft.com/office/drawing/2014/main" id="{392DE5D2-B49B-426F-973A-796F06DA1C02}"/>
              </a:ext>
            </a:extLst>
          </p:cNvPr>
          <p:cNvSpPr>
            <a:spLocks noGrp="1"/>
          </p:cNvSpPr>
          <p:nvPr>
            <p:ph type="body" sz="quarter" idx="54" hasCustomPrompt="1"/>
          </p:nvPr>
        </p:nvSpPr>
        <p:spPr>
          <a:xfrm>
            <a:off x="8340989"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7" name="Text Placeholder 8">
            <a:extLst>
              <a:ext uri="{FF2B5EF4-FFF2-40B4-BE49-F238E27FC236}">
                <a16:creationId xmlns:a16="http://schemas.microsoft.com/office/drawing/2014/main" id="{F158B884-75E5-4792-9AF4-729E520AEA56}"/>
              </a:ext>
            </a:extLst>
          </p:cNvPr>
          <p:cNvSpPr>
            <a:spLocks noGrp="1"/>
          </p:cNvSpPr>
          <p:nvPr>
            <p:ph type="body" sz="quarter" idx="55" hasCustomPrompt="1"/>
          </p:nvPr>
        </p:nvSpPr>
        <p:spPr>
          <a:xfrm>
            <a:off x="4773979"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1" name="Text Placeholder 8">
            <a:extLst>
              <a:ext uri="{FF2B5EF4-FFF2-40B4-BE49-F238E27FC236}">
                <a16:creationId xmlns:a16="http://schemas.microsoft.com/office/drawing/2014/main" id="{F9B3D12E-8D89-4095-ABAD-D72A2FB853CD}"/>
              </a:ext>
            </a:extLst>
          </p:cNvPr>
          <p:cNvSpPr>
            <a:spLocks noGrp="1"/>
          </p:cNvSpPr>
          <p:nvPr>
            <p:ph type="body" sz="quarter" idx="56" hasCustomPrompt="1"/>
          </p:nvPr>
        </p:nvSpPr>
        <p:spPr>
          <a:xfrm>
            <a:off x="1206970"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2" name="Text Placeholder 8">
            <a:extLst>
              <a:ext uri="{FF2B5EF4-FFF2-40B4-BE49-F238E27FC236}">
                <a16:creationId xmlns:a16="http://schemas.microsoft.com/office/drawing/2014/main" id="{40D4F5D2-CCD6-4B53-B4AF-6762B18D4C44}"/>
              </a:ext>
            </a:extLst>
          </p:cNvPr>
          <p:cNvSpPr>
            <a:spLocks noGrp="1"/>
          </p:cNvSpPr>
          <p:nvPr>
            <p:ph type="body" sz="quarter" idx="57" hasCustomPrompt="1"/>
          </p:nvPr>
        </p:nvSpPr>
        <p:spPr>
          <a:xfrm>
            <a:off x="8340989"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6" name="Text Placeholder 8">
            <a:extLst>
              <a:ext uri="{FF2B5EF4-FFF2-40B4-BE49-F238E27FC236}">
                <a16:creationId xmlns:a16="http://schemas.microsoft.com/office/drawing/2014/main" id="{5EBCF8CF-EBC7-4060-95AB-6E8DDF033DD6}"/>
              </a:ext>
            </a:extLst>
          </p:cNvPr>
          <p:cNvSpPr>
            <a:spLocks noGrp="1"/>
          </p:cNvSpPr>
          <p:nvPr>
            <p:ph type="body" sz="quarter" idx="58" hasCustomPrompt="1"/>
          </p:nvPr>
        </p:nvSpPr>
        <p:spPr>
          <a:xfrm>
            <a:off x="4773979"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Tree>
    <p:extLst>
      <p:ext uri="{BB962C8B-B14F-4D97-AF65-F5344CB8AC3E}">
        <p14:creationId xmlns:p14="http://schemas.microsoft.com/office/powerpoint/2010/main" val="337291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 6 Circ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86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2">
            <a:extLst>
              <a:ext uri="{FF2B5EF4-FFF2-40B4-BE49-F238E27FC236}">
                <a16:creationId xmlns:a16="http://schemas.microsoft.com/office/drawing/2014/main" id="{29CE1DF0-1871-4761-8A2D-6ADE54176FE2}"/>
              </a:ext>
            </a:extLst>
          </p:cNvPr>
          <p:cNvSpPr>
            <a:spLocks noGrp="1"/>
          </p:cNvSpPr>
          <p:nvPr>
            <p:ph type="pic" sz="quarter" idx="34"/>
          </p:nvPr>
        </p:nvSpPr>
        <p:spPr>
          <a:xfrm>
            <a:off x="9097230"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Picture Placeholder 2">
            <a:extLst>
              <a:ext uri="{FF2B5EF4-FFF2-40B4-BE49-F238E27FC236}">
                <a16:creationId xmlns:a16="http://schemas.microsoft.com/office/drawing/2014/main" id="{8B371179-F5B6-4BF6-8415-6E33BAC6A467}"/>
              </a:ext>
            </a:extLst>
          </p:cNvPr>
          <p:cNvSpPr>
            <a:spLocks noGrp="1"/>
          </p:cNvSpPr>
          <p:nvPr>
            <p:ph type="pic" sz="quarter" idx="15"/>
          </p:nvPr>
        </p:nvSpPr>
        <p:spPr>
          <a:xfrm>
            <a:off x="1963211"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15" name="Picture Placeholder 2">
            <a:extLst>
              <a:ext uri="{FF2B5EF4-FFF2-40B4-BE49-F238E27FC236}">
                <a16:creationId xmlns:a16="http://schemas.microsoft.com/office/drawing/2014/main" id="{A7F0C854-367C-45D6-8058-A61CBBBEF980}"/>
              </a:ext>
            </a:extLst>
          </p:cNvPr>
          <p:cNvSpPr>
            <a:spLocks noGrp="1"/>
          </p:cNvSpPr>
          <p:nvPr>
            <p:ph type="pic" sz="quarter" idx="33"/>
          </p:nvPr>
        </p:nvSpPr>
        <p:spPr>
          <a:xfrm>
            <a:off x="5530221"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33" name="Picture Placeholder 2">
            <a:extLst>
              <a:ext uri="{FF2B5EF4-FFF2-40B4-BE49-F238E27FC236}">
                <a16:creationId xmlns:a16="http://schemas.microsoft.com/office/drawing/2014/main" id="{8E086BCE-2C57-44C8-8382-B4F1E68C9190}"/>
              </a:ext>
            </a:extLst>
          </p:cNvPr>
          <p:cNvSpPr>
            <a:spLocks noGrp="1"/>
          </p:cNvSpPr>
          <p:nvPr>
            <p:ph type="pic" sz="quarter" idx="42"/>
          </p:nvPr>
        </p:nvSpPr>
        <p:spPr>
          <a:xfrm>
            <a:off x="9097230"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34" name="Picture Placeholder 2">
            <a:extLst>
              <a:ext uri="{FF2B5EF4-FFF2-40B4-BE49-F238E27FC236}">
                <a16:creationId xmlns:a16="http://schemas.microsoft.com/office/drawing/2014/main" id="{B42BC73E-976B-4798-BA88-23F8798DE3B1}"/>
              </a:ext>
            </a:extLst>
          </p:cNvPr>
          <p:cNvSpPr>
            <a:spLocks noGrp="1"/>
          </p:cNvSpPr>
          <p:nvPr>
            <p:ph type="pic" sz="quarter" idx="43"/>
          </p:nvPr>
        </p:nvSpPr>
        <p:spPr>
          <a:xfrm>
            <a:off x="1963211"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35" name="Picture Placeholder 2">
            <a:extLst>
              <a:ext uri="{FF2B5EF4-FFF2-40B4-BE49-F238E27FC236}">
                <a16:creationId xmlns:a16="http://schemas.microsoft.com/office/drawing/2014/main" id="{27EA5A29-E5FE-490B-9DB6-93ADB953302D}"/>
              </a:ext>
            </a:extLst>
          </p:cNvPr>
          <p:cNvSpPr>
            <a:spLocks noGrp="1"/>
          </p:cNvSpPr>
          <p:nvPr>
            <p:ph type="pic" sz="quarter" idx="44"/>
          </p:nvPr>
        </p:nvSpPr>
        <p:spPr>
          <a:xfrm>
            <a:off x="5530221"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19" name="Text Placeholder 8">
            <a:extLst>
              <a:ext uri="{FF2B5EF4-FFF2-40B4-BE49-F238E27FC236}">
                <a16:creationId xmlns:a16="http://schemas.microsoft.com/office/drawing/2014/main" id="{5F1A2826-A19E-4398-8577-D6494E465175}"/>
              </a:ext>
            </a:extLst>
          </p:cNvPr>
          <p:cNvSpPr>
            <a:spLocks noGrp="1"/>
          </p:cNvSpPr>
          <p:nvPr>
            <p:ph type="body" sz="quarter" idx="48" hasCustomPrompt="1"/>
          </p:nvPr>
        </p:nvSpPr>
        <p:spPr>
          <a:xfrm>
            <a:off x="1206970"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0" name="Text Placeholder 8">
            <a:extLst>
              <a:ext uri="{FF2B5EF4-FFF2-40B4-BE49-F238E27FC236}">
                <a16:creationId xmlns:a16="http://schemas.microsoft.com/office/drawing/2014/main" id="{EBB259CE-AD64-4A03-88D8-3A81F1FFA56B}"/>
              </a:ext>
            </a:extLst>
          </p:cNvPr>
          <p:cNvSpPr>
            <a:spLocks noGrp="1"/>
          </p:cNvSpPr>
          <p:nvPr>
            <p:ph type="body" sz="quarter" idx="54" hasCustomPrompt="1"/>
          </p:nvPr>
        </p:nvSpPr>
        <p:spPr>
          <a:xfrm>
            <a:off x="8340989"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1" name="Text Placeholder 8">
            <a:extLst>
              <a:ext uri="{FF2B5EF4-FFF2-40B4-BE49-F238E27FC236}">
                <a16:creationId xmlns:a16="http://schemas.microsoft.com/office/drawing/2014/main" id="{BEF2C105-0495-4ADD-A6F1-5CF2611D91CF}"/>
              </a:ext>
            </a:extLst>
          </p:cNvPr>
          <p:cNvSpPr>
            <a:spLocks noGrp="1"/>
          </p:cNvSpPr>
          <p:nvPr>
            <p:ph type="body" sz="quarter" idx="55" hasCustomPrompt="1"/>
          </p:nvPr>
        </p:nvSpPr>
        <p:spPr>
          <a:xfrm>
            <a:off x="4773979"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5" name="Text Placeholder 8">
            <a:extLst>
              <a:ext uri="{FF2B5EF4-FFF2-40B4-BE49-F238E27FC236}">
                <a16:creationId xmlns:a16="http://schemas.microsoft.com/office/drawing/2014/main" id="{03BA436D-13B5-4BD2-87FE-D46B5AAD44FC}"/>
              </a:ext>
            </a:extLst>
          </p:cNvPr>
          <p:cNvSpPr>
            <a:spLocks noGrp="1"/>
          </p:cNvSpPr>
          <p:nvPr>
            <p:ph type="body" sz="quarter" idx="56" hasCustomPrompt="1"/>
          </p:nvPr>
        </p:nvSpPr>
        <p:spPr>
          <a:xfrm>
            <a:off x="1206970"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6" name="Text Placeholder 8">
            <a:extLst>
              <a:ext uri="{FF2B5EF4-FFF2-40B4-BE49-F238E27FC236}">
                <a16:creationId xmlns:a16="http://schemas.microsoft.com/office/drawing/2014/main" id="{8E95DEBE-D697-44EE-BAF7-BAE5AD543EAA}"/>
              </a:ext>
            </a:extLst>
          </p:cNvPr>
          <p:cNvSpPr>
            <a:spLocks noGrp="1"/>
          </p:cNvSpPr>
          <p:nvPr>
            <p:ph type="body" sz="quarter" idx="57" hasCustomPrompt="1"/>
          </p:nvPr>
        </p:nvSpPr>
        <p:spPr>
          <a:xfrm>
            <a:off x="8340989"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7" name="Text Placeholder 8">
            <a:extLst>
              <a:ext uri="{FF2B5EF4-FFF2-40B4-BE49-F238E27FC236}">
                <a16:creationId xmlns:a16="http://schemas.microsoft.com/office/drawing/2014/main" id="{360F48D1-3764-4FC9-8799-E587FC507967}"/>
              </a:ext>
            </a:extLst>
          </p:cNvPr>
          <p:cNvSpPr>
            <a:spLocks noGrp="1"/>
          </p:cNvSpPr>
          <p:nvPr>
            <p:ph type="body" sz="quarter" idx="58" hasCustomPrompt="1"/>
          </p:nvPr>
        </p:nvSpPr>
        <p:spPr>
          <a:xfrm>
            <a:off x="4773979"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Tree>
    <p:extLst>
      <p:ext uri="{BB962C8B-B14F-4D97-AF65-F5344CB8AC3E}">
        <p14:creationId xmlns:p14="http://schemas.microsoft.com/office/powerpoint/2010/main" val="332119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8 Squa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86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2">
            <a:extLst>
              <a:ext uri="{FF2B5EF4-FFF2-40B4-BE49-F238E27FC236}">
                <a16:creationId xmlns:a16="http://schemas.microsoft.com/office/drawing/2014/main" id="{29CE1DF0-1871-4761-8A2D-6ADE54176FE2}"/>
              </a:ext>
            </a:extLst>
          </p:cNvPr>
          <p:cNvSpPr>
            <a:spLocks noGrp="1"/>
          </p:cNvSpPr>
          <p:nvPr>
            <p:ph type="pic" sz="quarter" idx="34"/>
          </p:nvPr>
        </p:nvSpPr>
        <p:spPr>
          <a:xfrm>
            <a:off x="10112621" y="1921490"/>
            <a:ext cx="1134000" cy="1134000"/>
          </a:xfrm>
          <a:solidFill>
            <a:schemeClr val="bg2"/>
          </a:solidFill>
        </p:spPr>
        <p:txBody>
          <a:bodyPr anchor="ctr">
            <a:normAutofit/>
          </a:bodyPr>
          <a:lstStyle>
            <a:lvl1pPr algn="ctr">
              <a:defRPr sz="1400"/>
            </a:lvl1pPr>
          </a:lstStyle>
          <a:p>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Picture Placeholder 2">
            <a:extLst>
              <a:ext uri="{FF2B5EF4-FFF2-40B4-BE49-F238E27FC236}">
                <a16:creationId xmlns:a16="http://schemas.microsoft.com/office/drawing/2014/main" id="{8B371179-F5B6-4BF6-8415-6E33BAC6A467}"/>
              </a:ext>
            </a:extLst>
          </p:cNvPr>
          <p:cNvSpPr>
            <a:spLocks noGrp="1"/>
          </p:cNvSpPr>
          <p:nvPr>
            <p:ph type="pic" sz="quarter" idx="15"/>
          </p:nvPr>
        </p:nvSpPr>
        <p:spPr>
          <a:xfrm>
            <a:off x="938487" y="1921490"/>
            <a:ext cx="1134000" cy="1134000"/>
          </a:xfrm>
          <a:solidFill>
            <a:schemeClr val="bg2"/>
          </a:solidFill>
        </p:spPr>
        <p:txBody>
          <a:bodyPr anchor="ctr">
            <a:normAutofit/>
          </a:bodyPr>
          <a:lstStyle>
            <a:lvl1pPr algn="ctr">
              <a:defRPr sz="1400"/>
            </a:lvl1pPr>
          </a:lstStyle>
          <a:p>
            <a:endParaRPr lang="en-GB"/>
          </a:p>
        </p:txBody>
      </p:sp>
      <p:sp>
        <p:nvSpPr>
          <p:cNvPr id="15" name="Picture Placeholder 2">
            <a:extLst>
              <a:ext uri="{FF2B5EF4-FFF2-40B4-BE49-F238E27FC236}">
                <a16:creationId xmlns:a16="http://schemas.microsoft.com/office/drawing/2014/main" id="{A7F0C854-367C-45D6-8058-A61CBBBEF980}"/>
              </a:ext>
            </a:extLst>
          </p:cNvPr>
          <p:cNvSpPr>
            <a:spLocks noGrp="1"/>
          </p:cNvSpPr>
          <p:nvPr>
            <p:ph type="pic" sz="quarter" idx="33"/>
          </p:nvPr>
        </p:nvSpPr>
        <p:spPr>
          <a:xfrm>
            <a:off x="3996532" y="1921490"/>
            <a:ext cx="1134000" cy="1134000"/>
          </a:xfrm>
          <a:solidFill>
            <a:schemeClr val="bg2"/>
          </a:solidFill>
        </p:spPr>
        <p:txBody>
          <a:bodyPr anchor="ctr">
            <a:normAutofit/>
          </a:bodyPr>
          <a:lstStyle>
            <a:lvl1pPr algn="ctr">
              <a:defRPr sz="1400"/>
            </a:lvl1pPr>
          </a:lstStyle>
          <a:p>
            <a:endParaRPr lang="en-GB"/>
          </a:p>
        </p:txBody>
      </p:sp>
      <p:sp>
        <p:nvSpPr>
          <p:cNvPr id="21" name="Picture Placeholder 2">
            <a:extLst>
              <a:ext uri="{FF2B5EF4-FFF2-40B4-BE49-F238E27FC236}">
                <a16:creationId xmlns:a16="http://schemas.microsoft.com/office/drawing/2014/main" id="{8FF94767-824D-4D23-A471-07699B3A1A5A}"/>
              </a:ext>
            </a:extLst>
          </p:cNvPr>
          <p:cNvSpPr>
            <a:spLocks noGrp="1"/>
          </p:cNvSpPr>
          <p:nvPr>
            <p:ph type="pic" sz="quarter" idx="48"/>
          </p:nvPr>
        </p:nvSpPr>
        <p:spPr>
          <a:xfrm>
            <a:off x="7054577" y="1921490"/>
            <a:ext cx="1134000" cy="1134000"/>
          </a:xfrm>
          <a:solidFill>
            <a:schemeClr val="bg2"/>
          </a:solidFill>
        </p:spPr>
        <p:txBody>
          <a:bodyPr anchor="ctr">
            <a:normAutofit/>
          </a:bodyPr>
          <a:lstStyle>
            <a:lvl1pPr algn="ctr">
              <a:defRPr sz="1400"/>
            </a:lvl1pPr>
          </a:lstStyle>
          <a:p>
            <a:endParaRPr lang="en-GB"/>
          </a:p>
        </p:txBody>
      </p:sp>
      <p:sp>
        <p:nvSpPr>
          <p:cNvPr id="41" name="Picture Placeholder 2">
            <a:extLst>
              <a:ext uri="{FF2B5EF4-FFF2-40B4-BE49-F238E27FC236}">
                <a16:creationId xmlns:a16="http://schemas.microsoft.com/office/drawing/2014/main" id="{6E04F356-E580-4323-A331-C40D59BB0F40}"/>
              </a:ext>
            </a:extLst>
          </p:cNvPr>
          <p:cNvSpPr>
            <a:spLocks noGrp="1"/>
          </p:cNvSpPr>
          <p:nvPr>
            <p:ph type="pic" sz="quarter" idx="52"/>
          </p:nvPr>
        </p:nvSpPr>
        <p:spPr>
          <a:xfrm>
            <a:off x="10112621" y="4067790"/>
            <a:ext cx="1134000" cy="1134000"/>
          </a:xfrm>
          <a:solidFill>
            <a:schemeClr val="bg2"/>
          </a:solidFill>
        </p:spPr>
        <p:txBody>
          <a:bodyPr anchor="ctr">
            <a:normAutofit/>
          </a:bodyPr>
          <a:lstStyle>
            <a:lvl1pPr algn="ctr">
              <a:defRPr sz="1400"/>
            </a:lvl1pPr>
          </a:lstStyle>
          <a:p>
            <a:endParaRPr lang="en-GB"/>
          </a:p>
        </p:txBody>
      </p:sp>
      <p:sp>
        <p:nvSpPr>
          <p:cNvPr id="42" name="Picture Placeholder 2">
            <a:extLst>
              <a:ext uri="{FF2B5EF4-FFF2-40B4-BE49-F238E27FC236}">
                <a16:creationId xmlns:a16="http://schemas.microsoft.com/office/drawing/2014/main" id="{D1C90C76-3A5A-4BC6-B33B-13AA3DED9758}"/>
              </a:ext>
            </a:extLst>
          </p:cNvPr>
          <p:cNvSpPr>
            <a:spLocks noGrp="1"/>
          </p:cNvSpPr>
          <p:nvPr>
            <p:ph type="pic" sz="quarter" idx="53"/>
          </p:nvPr>
        </p:nvSpPr>
        <p:spPr>
          <a:xfrm>
            <a:off x="938487" y="4067790"/>
            <a:ext cx="1134000" cy="1134000"/>
          </a:xfrm>
          <a:solidFill>
            <a:schemeClr val="bg2"/>
          </a:solidFill>
        </p:spPr>
        <p:txBody>
          <a:bodyPr anchor="ctr">
            <a:normAutofit/>
          </a:bodyPr>
          <a:lstStyle>
            <a:lvl1pPr algn="ctr">
              <a:defRPr sz="1400"/>
            </a:lvl1pPr>
          </a:lstStyle>
          <a:p>
            <a:endParaRPr lang="en-GB"/>
          </a:p>
        </p:txBody>
      </p:sp>
      <p:sp>
        <p:nvSpPr>
          <p:cNvPr id="43" name="Picture Placeholder 2">
            <a:extLst>
              <a:ext uri="{FF2B5EF4-FFF2-40B4-BE49-F238E27FC236}">
                <a16:creationId xmlns:a16="http://schemas.microsoft.com/office/drawing/2014/main" id="{C18A7E74-F01F-4256-AB33-F66A43FC6E3E}"/>
              </a:ext>
            </a:extLst>
          </p:cNvPr>
          <p:cNvSpPr>
            <a:spLocks noGrp="1"/>
          </p:cNvSpPr>
          <p:nvPr>
            <p:ph type="pic" sz="quarter" idx="54"/>
          </p:nvPr>
        </p:nvSpPr>
        <p:spPr>
          <a:xfrm>
            <a:off x="3996532" y="4067790"/>
            <a:ext cx="1134000" cy="1134000"/>
          </a:xfrm>
          <a:solidFill>
            <a:schemeClr val="bg2"/>
          </a:solidFill>
        </p:spPr>
        <p:txBody>
          <a:bodyPr anchor="ctr">
            <a:normAutofit/>
          </a:bodyPr>
          <a:lstStyle>
            <a:lvl1pPr algn="ctr">
              <a:defRPr sz="1400"/>
            </a:lvl1pPr>
          </a:lstStyle>
          <a:p>
            <a:endParaRPr lang="en-GB"/>
          </a:p>
        </p:txBody>
      </p:sp>
      <p:sp>
        <p:nvSpPr>
          <p:cNvPr id="45" name="Picture Placeholder 2">
            <a:extLst>
              <a:ext uri="{FF2B5EF4-FFF2-40B4-BE49-F238E27FC236}">
                <a16:creationId xmlns:a16="http://schemas.microsoft.com/office/drawing/2014/main" id="{24843B90-883E-40AC-A24D-617D5D18F912}"/>
              </a:ext>
            </a:extLst>
          </p:cNvPr>
          <p:cNvSpPr>
            <a:spLocks noGrp="1"/>
          </p:cNvSpPr>
          <p:nvPr>
            <p:ph type="pic" sz="quarter" idx="56"/>
          </p:nvPr>
        </p:nvSpPr>
        <p:spPr>
          <a:xfrm>
            <a:off x="7054577" y="4067790"/>
            <a:ext cx="1134000" cy="1134000"/>
          </a:xfrm>
          <a:solidFill>
            <a:schemeClr val="bg2"/>
          </a:solidFill>
        </p:spPr>
        <p:txBody>
          <a:bodyPr anchor="ctr">
            <a:normAutofit/>
          </a:bodyPr>
          <a:lstStyle>
            <a:lvl1pPr algn="ctr">
              <a:defRPr sz="1400"/>
            </a:lvl1pPr>
          </a:lstStyle>
          <a:p>
            <a:endParaRPr lang="en-GB"/>
          </a:p>
        </p:txBody>
      </p:sp>
      <p:sp>
        <p:nvSpPr>
          <p:cNvPr id="24" name="Text Placeholder 8">
            <a:extLst>
              <a:ext uri="{FF2B5EF4-FFF2-40B4-BE49-F238E27FC236}">
                <a16:creationId xmlns:a16="http://schemas.microsoft.com/office/drawing/2014/main" id="{C42DF703-B2AC-4621-A6FF-C03DFE248289}"/>
              </a:ext>
            </a:extLst>
          </p:cNvPr>
          <p:cNvSpPr>
            <a:spLocks noGrp="1"/>
          </p:cNvSpPr>
          <p:nvPr>
            <p:ph type="body" sz="quarter" idx="67" hasCustomPrompt="1"/>
          </p:nvPr>
        </p:nvSpPr>
        <p:spPr>
          <a:xfrm>
            <a:off x="407475"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3" name="Text Placeholder 8">
            <a:extLst>
              <a:ext uri="{FF2B5EF4-FFF2-40B4-BE49-F238E27FC236}">
                <a16:creationId xmlns:a16="http://schemas.microsoft.com/office/drawing/2014/main" id="{68D3245D-F3A1-486D-B34E-4A1458B5832D}"/>
              </a:ext>
            </a:extLst>
          </p:cNvPr>
          <p:cNvSpPr>
            <a:spLocks noGrp="1"/>
          </p:cNvSpPr>
          <p:nvPr>
            <p:ph type="body" sz="quarter" idx="68" hasCustomPrompt="1"/>
          </p:nvPr>
        </p:nvSpPr>
        <p:spPr>
          <a:xfrm>
            <a:off x="3465519"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4" name="Text Placeholder 8">
            <a:extLst>
              <a:ext uri="{FF2B5EF4-FFF2-40B4-BE49-F238E27FC236}">
                <a16:creationId xmlns:a16="http://schemas.microsoft.com/office/drawing/2014/main" id="{ACF854A5-24B2-469B-B1DF-02CCA81DBEF4}"/>
              </a:ext>
            </a:extLst>
          </p:cNvPr>
          <p:cNvSpPr>
            <a:spLocks noGrp="1"/>
          </p:cNvSpPr>
          <p:nvPr>
            <p:ph type="body" sz="quarter" idx="69" hasCustomPrompt="1"/>
          </p:nvPr>
        </p:nvSpPr>
        <p:spPr>
          <a:xfrm>
            <a:off x="6523563"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5" name="Text Placeholder 8">
            <a:extLst>
              <a:ext uri="{FF2B5EF4-FFF2-40B4-BE49-F238E27FC236}">
                <a16:creationId xmlns:a16="http://schemas.microsoft.com/office/drawing/2014/main" id="{182EAEEF-027D-4A5D-94DD-5B01FEA46B0D}"/>
              </a:ext>
            </a:extLst>
          </p:cNvPr>
          <p:cNvSpPr>
            <a:spLocks noGrp="1"/>
          </p:cNvSpPr>
          <p:nvPr>
            <p:ph type="body" sz="quarter" idx="70" hasCustomPrompt="1"/>
          </p:nvPr>
        </p:nvSpPr>
        <p:spPr>
          <a:xfrm>
            <a:off x="9581608"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40" name="Text Placeholder 8">
            <a:extLst>
              <a:ext uri="{FF2B5EF4-FFF2-40B4-BE49-F238E27FC236}">
                <a16:creationId xmlns:a16="http://schemas.microsoft.com/office/drawing/2014/main" id="{24B824B2-1F64-4E36-B60E-DDD7F4DFB3CA}"/>
              </a:ext>
            </a:extLst>
          </p:cNvPr>
          <p:cNvSpPr>
            <a:spLocks noGrp="1"/>
          </p:cNvSpPr>
          <p:nvPr>
            <p:ph type="body" sz="quarter" idx="71" hasCustomPrompt="1"/>
          </p:nvPr>
        </p:nvSpPr>
        <p:spPr>
          <a:xfrm>
            <a:off x="407475"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44" name="Text Placeholder 8">
            <a:extLst>
              <a:ext uri="{FF2B5EF4-FFF2-40B4-BE49-F238E27FC236}">
                <a16:creationId xmlns:a16="http://schemas.microsoft.com/office/drawing/2014/main" id="{D30169F0-AC48-4F2A-A054-8450AAABD324}"/>
              </a:ext>
            </a:extLst>
          </p:cNvPr>
          <p:cNvSpPr>
            <a:spLocks noGrp="1"/>
          </p:cNvSpPr>
          <p:nvPr>
            <p:ph type="body" sz="quarter" idx="72" hasCustomPrompt="1"/>
          </p:nvPr>
        </p:nvSpPr>
        <p:spPr>
          <a:xfrm>
            <a:off x="3465519"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46" name="Text Placeholder 8">
            <a:extLst>
              <a:ext uri="{FF2B5EF4-FFF2-40B4-BE49-F238E27FC236}">
                <a16:creationId xmlns:a16="http://schemas.microsoft.com/office/drawing/2014/main" id="{993010D9-4756-4DA8-B45A-49B7312DA79A}"/>
              </a:ext>
            </a:extLst>
          </p:cNvPr>
          <p:cNvSpPr>
            <a:spLocks noGrp="1"/>
          </p:cNvSpPr>
          <p:nvPr>
            <p:ph type="body" sz="quarter" idx="73" hasCustomPrompt="1"/>
          </p:nvPr>
        </p:nvSpPr>
        <p:spPr>
          <a:xfrm>
            <a:off x="6523563"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47" name="Text Placeholder 8">
            <a:extLst>
              <a:ext uri="{FF2B5EF4-FFF2-40B4-BE49-F238E27FC236}">
                <a16:creationId xmlns:a16="http://schemas.microsoft.com/office/drawing/2014/main" id="{DCDBBA85-CFA5-4D1C-817B-D1ED50BC4FA7}"/>
              </a:ext>
            </a:extLst>
          </p:cNvPr>
          <p:cNvSpPr>
            <a:spLocks noGrp="1"/>
          </p:cNvSpPr>
          <p:nvPr>
            <p:ph type="body" sz="quarter" idx="74" hasCustomPrompt="1"/>
          </p:nvPr>
        </p:nvSpPr>
        <p:spPr>
          <a:xfrm>
            <a:off x="9581608"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Tree>
    <p:extLst>
      <p:ext uri="{BB962C8B-B14F-4D97-AF65-F5344CB8AC3E}">
        <p14:creationId xmlns:p14="http://schemas.microsoft.com/office/powerpoint/2010/main" val="230678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8 Circ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86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2">
            <a:extLst>
              <a:ext uri="{FF2B5EF4-FFF2-40B4-BE49-F238E27FC236}">
                <a16:creationId xmlns:a16="http://schemas.microsoft.com/office/drawing/2014/main" id="{29CE1DF0-1871-4761-8A2D-6ADE54176FE2}"/>
              </a:ext>
            </a:extLst>
          </p:cNvPr>
          <p:cNvSpPr>
            <a:spLocks noGrp="1"/>
          </p:cNvSpPr>
          <p:nvPr>
            <p:ph type="pic" sz="quarter" idx="34"/>
          </p:nvPr>
        </p:nvSpPr>
        <p:spPr>
          <a:xfrm>
            <a:off x="10112621"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Picture Placeholder 2">
            <a:extLst>
              <a:ext uri="{FF2B5EF4-FFF2-40B4-BE49-F238E27FC236}">
                <a16:creationId xmlns:a16="http://schemas.microsoft.com/office/drawing/2014/main" id="{8B371179-F5B6-4BF6-8415-6E33BAC6A467}"/>
              </a:ext>
            </a:extLst>
          </p:cNvPr>
          <p:cNvSpPr>
            <a:spLocks noGrp="1"/>
          </p:cNvSpPr>
          <p:nvPr>
            <p:ph type="pic" sz="quarter" idx="15"/>
          </p:nvPr>
        </p:nvSpPr>
        <p:spPr>
          <a:xfrm>
            <a:off x="938487"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15" name="Picture Placeholder 2">
            <a:extLst>
              <a:ext uri="{FF2B5EF4-FFF2-40B4-BE49-F238E27FC236}">
                <a16:creationId xmlns:a16="http://schemas.microsoft.com/office/drawing/2014/main" id="{A7F0C854-367C-45D6-8058-A61CBBBEF980}"/>
              </a:ext>
            </a:extLst>
          </p:cNvPr>
          <p:cNvSpPr>
            <a:spLocks noGrp="1"/>
          </p:cNvSpPr>
          <p:nvPr>
            <p:ph type="pic" sz="quarter" idx="33"/>
          </p:nvPr>
        </p:nvSpPr>
        <p:spPr>
          <a:xfrm>
            <a:off x="3996532"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21" name="Picture Placeholder 2">
            <a:extLst>
              <a:ext uri="{FF2B5EF4-FFF2-40B4-BE49-F238E27FC236}">
                <a16:creationId xmlns:a16="http://schemas.microsoft.com/office/drawing/2014/main" id="{8FF94767-824D-4D23-A471-07699B3A1A5A}"/>
              </a:ext>
            </a:extLst>
          </p:cNvPr>
          <p:cNvSpPr>
            <a:spLocks noGrp="1"/>
          </p:cNvSpPr>
          <p:nvPr>
            <p:ph type="pic" sz="quarter" idx="48"/>
          </p:nvPr>
        </p:nvSpPr>
        <p:spPr>
          <a:xfrm>
            <a:off x="7054577"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41" name="Picture Placeholder 2">
            <a:extLst>
              <a:ext uri="{FF2B5EF4-FFF2-40B4-BE49-F238E27FC236}">
                <a16:creationId xmlns:a16="http://schemas.microsoft.com/office/drawing/2014/main" id="{6E04F356-E580-4323-A331-C40D59BB0F40}"/>
              </a:ext>
            </a:extLst>
          </p:cNvPr>
          <p:cNvSpPr>
            <a:spLocks noGrp="1"/>
          </p:cNvSpPr>
          <p:nvPr>
            <p:ph type="pic" sz="quarter" idx="52"/>
          </p:nvPr>
        </p:nvSpPr>
        <p:spPr>
          <a:xfrm>
            <a:off x="10112621"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42" name="Picture Placeholder 2">
            <a:extLst>
              <a:ext uri="{FF2B5EF4-FFF2-40B4-BE49-F238E27FC236}">
                <a16:creationId xmlns:a16="http://schemas.microsoft.com/office/drawing/2014/main" id="{D1C90C76-3A5A-4BC6-B33B-13AA3DED9758}"/>
              </a:ext>
            </a:extLst>
          </p:cNvPr>
          <p:cNvSpPr>
            <a:spLocks noGrp="1"/>
          </p:cNvSpPr>
          <p:nvPr>
            <p:ph type="pic" sz="quarter" idx="53"/>
          </p:nvPr>
        </p:nvSpPr>
        <p:spPr>
          <a:xfrm>
            <a:off x="938487"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43" name="Picture Placeholder 2">
            <a:extLst>
              <a:ext uri="{FF2B5EF4-FFF2-40B4-BE49-F238E27FC236}">
                <a16:creationId xmlns:a16="http://schemas.microsoft.com/office/drawing/2014/main" id="{C18A7E74-F01F-4256-AB33-F66A43FC6E3E}"/>
              </a:ext>
            </a:extLst>
          </p:cNvPr>
          <p:cNvSpPr>
            <a:spLocks noGrp="1"/>
          </p:cNvSpPr>
          <p:nvPr>
            <p:ph type="pic" sz="quarter" idx="54"/>
          </p:nvPr>
        </p:nvSpPr>
        <p:spPr>
          <a:xfrm>
            <a:off x="3996532"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45" name="Picture Placeholder 2">
            <a:extLst>
              <a:ext uri="{FF2B5EF4-FFF2-40B4-BE49-F238E27FC236}">
                <a16:creationId xmlns:a16="http://schemas.microsoft.com/office/drawing/2014/main" id="{24843B90-883E-40AC-A24D-617D5D18F912}"/>
              </a:ext>
            </a:extLst>
          </p:cNvPr>
          <p:cNvSpPr>
            <a:spLocks noGrp="1"/>
          </p:cNvSpPr>
          <p:nvPr>
            <p:ph type="pic" sz="quarter" idx="56"/>
          </p:nvPr>
        </p:nvSpPr>
        <p:spPr>
          <a:xfrm>
            <a:off x="7054577"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23" name="Text Placeholder 8">
            <a:extLst>
              <a:ext uri="{FF2B5EF4-FFF2-40B4-BE49-F238E27FC236}">
                <a16:creationId xmlns:a16="http://schemas.microsoft.com/office/drawing/2014/main" id="{C5F6F1BA-F0E8-4044-AC7C-D375915A13F9}"/>
              </a:ext>
            </a:extLst>
          </p:cNvPr>
          <p:cNvSpPr>
            <a:spLocks noGrp="1"/>
          </p:cNvSpPr>
          <p:nvPr>
            <p:ph type="body" sz="quarter" idx="67" hasCustomPrompt="1"/>
          </p:nvPr>
        </p:nvSpPr>
        <p:spPr>
          <a:xfrm>
            <a:off x="407475"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4" name="Text Placeholder 8">
            <a:extLst>
              <a:ext uri="{FF2B5EF4-FFF2-40B4-BE49-F238E27FC236}">
                <a16:creationId xmlns:a16="http://schemas.microsoft.com/office/drawing/2014/main" id="{5A59C410-913E-44B0-B2C2-3413DE363C5F}"/>
              </a:ext>
            </a:extLst>
          </p:cNvPr>
          <p:cNvSpPr>
            <a:spLocks noGrp="1"/>
          </p:cNvSpPr>
          <p:nvPr>
            <p:ph type="body" sz="quarter" idx="68" hasCustomPrompt="1"/>
          </p:nvPr>
        </p:nvSpPr>
        <p:spPr>
          <a:xfrm>
            <a:off x="3465519"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5" name="Text Placeholder 8">
            <a:extLst>
              <a:ext uri="{FF2B5EF4-FFF2-40B4-BE49-F238E27FC236}">
                <a16:creationId xmlns:a16="http://schemas.microsoft.com/office/drawing/2014/main" id="{DD8CF271-85D2-472C-8E1D-F1D6DB8F43E6}"/>
              </a:ext>
            </a:extLst>
          </p:cNvPr>
          <p:cNvSpPr>
            <a:spLocks noGrp="1"/>
          </p:cNvSpPr>
          <p:nvPr>
            <p:ph type="body" sz="quarter" idx="69" hasCustomPrompt="1"/>
          </p:nvPr>
        </p:nvSpPr>
        <p:spPr>
          <a:xfrm>
            <a:off x="6523563"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9" name="Text Placeholder 8">
            <a:extLst>
              <a:ext uri="{FF2B5EF4-FFF2-40B4-BE49-F238E27FC236}">
                <a16:creationId xmlns:a16="http://schemas.microsoft.com/office/drawing/2014/main" id="{B491DB89-B8A1-4997-810A-8B068C846C30}"/>
              </a:ext>
            </a:extLst>
          </p:cNvPr>
          <p:cNvSpPr>
            <a:spLocks noGrp="1"/>
          </p:cNvSpPr>
          <p:nvPr>
            <p:ph type="body" sz="quarter" idx="70" hasCustomPrompt="1"/>
          </p:nvPr>
        </p:nvSpPr>
        <p:spPr>
          <a:xfrm>
            <a:off x="9581608"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0" name="Text Placeholder 8">
            <a:extLst>
              <a:ext uri="{FF2B5EF4-FFF2-40B4-BE49-F238E27FC236}">
                <a16:creationId xmlns:a16="http://schemas.microsoft.com/office/drawing/2014/main" id="{D155ACD1-1A28-4CD9-9C66-9AB4F7808A63}"/>
              </a:ext>
            </a:extLst>
          </p:cNvPr>
          <p:cNvSpPr>
            <a:spLocks noGrp="1"/>
          </p:cNvSpPr>
          <p:nvPr>
            <p:ph type="body" sz="quarter" idx="71" hasCustomPrompt="1"/>
          </p:nvPr>
        </p:nvSpPr>
        <p:spPr>
          <a:xfrm>
            <a:off x="407475"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1" name="Text Placeholder 8">
            <a:extLst>
              <a:ext uri="{FF2B5EF4-FFF2-40B4-BE49-F238E27FC236}">
                <a16:creationId xmlns:a16="http://schemas.microsoft.com/office/drawing/2014/main" id="{2AA9AC7F-D95E-4729-8883-FD96949845F6}"/>
              </a:ext>
            </a:extLst>
          </p:cNvPr>
          <p:cNvSpPr>
            <a:spLocks noGrp="1"/>
          </p:cNvSpPr>
          <p:nvPr>
            <p:ph type="body" sz="quarter" idx="72" hasCustomPrompt="1"/>
          </p:nvPr>
        </p:nvSpPr>
        <p:spPr>
          <a:xfrm>
            <a:off x="3465519"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2" name="Text Placeholder 8">
            <a:extLst>
              <a:ext uri="{FF2B5EF4-FFF2-40B4-BE49-F238E27FC236}">
                <a16:creationId xmlns:a16="http://schemas.microsoft.com/office/drawing/2014/main" id="{C0F1CF5E-D64D-461B-B149-58BCA8309A64}"/>
              </a:ext>
            </a:extLst>
          </p:cNvPr>
          <p:cNvSpPr>
            <a:spLocks noGrp="1"/>
          </p:cNvSpPr>
          <p:nvPr>
            <p:ph type="body" sz="quarter" idx="73" hasCustomPrompt="1"/>
          </p:nvPr>
        </p:nvSpPr>
        <p:spPr>
          <a:xfrm>
            <a:off x="6523563"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3" name="Text Placeholder 8">
            <a:extLst>
              <a:ext uri="{FF2B5EF4-FFF2-40B4-BE49-F238E27FC236}">
                <a16:creationId xmlns:a16="http://schemas.microsoft.com/office/drawing/2014/main" id="{2FA9BDAA-F8DD-481E-A20F-D2CF740A8291}"/>
              </a:ext>
            </a:extLst>
          </p:cNvPr>
          <p:cNvSpPr>
            <a:spLocks noGrp="1"/>
          </p:cNvSpPr>
          <p:nvPr>
            <p:ph type="body" sz="quarter" idx="74" hasCustomPrompt="1"/>
          </p:nvPr>
        </p:nvSpPr>
        <p:spPr>
          <a:xfrm>
            <a:off x="9581608"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Tree>
    <p:extLst>
      <p:ext uri="{BB962C8B-B14F-4D97-AF65-F5344CB8AC3E}">
        <p14:creationId xmlns:p14="http://schemas.microsoft.com/office/powerpoint/2010/main" val="268161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Green">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chemeClr val="bg1"/>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chemeClr val="bg1"/>
                </a:solidFill>
              </a:defRPr>
            </a:lvl1pPr>
          </a:lstStyle>
          <a:p>
            <a:fld id="{558C4CC7-2A35-421E-B553-155EEFD58513}" type="slidenum">
              <a:rPr lang="en-GB" smtClean="0"/>
              <a:pPr/>
              <a:t>‹#›</a:t>
            </a:fld>
            <a:endParaRPr lang="en-GB"/>
          </a:p>
        </p:txBody>
      </p:sp>
      <p:sp>
        <p:nvSpPr>
          <p:cNvPr id="9" name="Freeform: Shape 8">
            <a:extLst>
              <a:ext uri="{FF2B5EF4-FFF2-40B4-BE49-F238E27FC236}">
                <a16:creationId xmlns:a16="http://schemas.microsoft.com/office/drawing/2014/main" id="{D7478D46-E668-491B-BDF4-8DA302B7616D}"/>
              </a:ext>
            </a:extLst>
          </p:cNvPr>
          <p:cNvSpPr/>
          <p:nvPr userDrawn="1"/>
        </p:nvSpPr>
        <p:spPr>
          <a:xfrm>
            <a:off x="1671687" y="1487988"/>
            <a:ext cx="652824" cy="435216"/>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26AD35EF-268D-43A6-8DA5-03A3D74A63A5}"/>
              </a:ext>
            </a:extLst>
          </p:cNvPr>
          <p:cNvSpPr/>
          <p:nvPr userDrawn="1"/>
        </p:nvSpPr>
        <p:spPr>
          <a:xfrm rot="10800000">
            <a:off x="9867489" y="5069387"/>
            <a:ext cx="652824" cy="435216"/>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2" name="Text Placeholder 6">
            <a:extLst>
              <a:ext uri="{FF2B5EF4-FFF2-40B4-BE49-F238E27FC236}">
                <a16:creationId xmlns:a16="http://schemas.microsoft.com/office/drawing/2014/main" id="{A7EFC3C0-47D7-4F80-A7B8-4269BC17921F}"/>
              </a:ext>
            </a:extLst>
          </p:cNvPr>
          <p:cNvSpPr>
            <a:spLocks noGrp="1"/>
          </p:cNvSpPr>
          <p:nvPr>
            <p:ph type="body" sz="quarter" idx="12" hasCustomPrompt="1"/>
          </p:nvPr>
        </p:nvSpPr>
        <p:spPr>
          <a:xfrm>
            <a:off x="2463800" y="2009775"/>
            <a:ext cx="7264400" cy="2838450"/>
          </a:xfrm>
        </p:spPr>
        <p:txBody>
          <a:bodyPr anchor="ctr">
            <a:noAutofit/>
          </a:bodyPr>
          <a:lstStyle>
            <a:lvl1pPr marL="0" indent="0" algn="ctr">
              <a:spcBef>
                <a:spcPts val="0"/>
              </a:spcBef>
              <a:buFont typeface="Arial" panose="020B0604020202020204" pitchFamily="34" charset="0"/>
              <a:buNone/>
              <a:defRPr sz="5400">
                <a:solidFill>
                  <a:schemeClr val="accent2"/>
                </a:solidFill>
              </a:defRPr>
            </a:lvl1pPr>
            <a:lvl2pPr marL="0" indent="0" algn="ctr">
              <a:buNone/>
              <a:defRPr sz="5400">
                <a:solidFill>
                  <a:schemeClr val="accent2"/>
                </a:solidFill>
              </a:defRPr>
            </a:lvl2pPr>
            <a:lvl3pPr marL="0" indent="0" algn="ctr">
              <a:buNone/>
              <a:defRPr sz="5400">
                <a:solidFill>
                  <a:schemeClr val="accent2"/>
                </a:solidFill>
              </a:defRPr>
            </a:lvl3pPr>
            <a:lvl4pPr marL="0" indent="0" algn="ctr">
              <a:buFont typeface="Arial" panose="020B0604020202020204" pitchFamily="34" charset="0"/>
              <a:buNone/>
              <a:defRPr sz="5400">
                <a:solidFill>
                  <a:schemeClr val="accent2"/>
                </a:solidFill>
              </a:defRPr>
            </a:lvl4pPr>
            <a:lvl5pPr marL="0" indent="0" algn="ctr">
              <a:buFont typeface="Arial" panose="020B0604020202020204" pitchFamily="34" charset="0"/>
              <a:buNone/>
              <a:defRPr sz="5400">
                <a:solidFill>
                  <a:schemeClr val="accent2"/>
                </a:solidFill>
              </a:defRPr>
            </a:lvl5pPr>
            <a:lvl6pPr algn="ctr">
              <a:defRPr sz="5400">
                <a:solidFill>
                  <a:schemeClr val="accent2"/>
                </a:solidFill>
              </a:defRPr>
            </a:lvl6pPr>
            <a:lvl7pPr algn="ctr">
              <a:defRPr sz="5400">
                <a:solidFill>
                  <a:schemeClr val="accent2"/>
                </a:solidFill>
              </a:defRPr>
            </a:lvl7pPr>
            <a:lvl8pPr algn="ctr">
              <a:defRPr sz="5400">
                <a:solidFill>
                  <a:schemeClr val="accent2"/>
                </a:solidFill>
              </a:defRPr>
            </a:lvl8pPr>
            <a:lvl9pPr algn="ctr">
              <a:defRPr sz="5400">
                <a:solidFill>
                  <a:schemeClr val="accent2"/>
                </a:solidFill>
              </a:defRPr>
            </a:lvl9pPr>
          </a:lstStyle>
          <a:p>
            <a:pPr lvl="0"/>
            <a:r>
              <a:rPr lang="en-US"/>
              <a:t>Quote</a:t>
            </a:r>
          </a:p>
        </p:txBody>
      </p:sp>
      <p:pic>
        <p:nvPicPr>
          <p:cNvPr id="8" name="Graphic 7">
            <a:extLst>
              <a:ext uri="{FF2B5EF4-FFF2-40B4-BE49-F238E27FC236}">
                <a16:creationId xmlns:a16="http://schemas.microsoft.com/office/drawing/2014/main" id="{F3F786F4-7ABE-4B8F-AF51-3FFF0E847F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248929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White Title Light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3533115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 name="Graphic 33">
            <a:extLst>
              <a:ext uri="{FF2B5EF4-FFF2-40B4-BE49-F238E27FC236}">
                <a16:creationId xmlns:a16="http://schemas.microsoft.com/office/drawing/2014/main" id="{6F399DD8-FB9D-48AA-9F2C-981E7A6BFD0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25572" y="443583"/>
            <a:ext cx="658441" cy="877146"/>
          </a:xfrm>
          <a:prstGeom prst="rect">
            <a:avLst/>
          </a:prstGeom>
        </p:spPr>
      </p:pic>
      <p:sp>
        <p:nvSpPr>
          <p:cNvPr id="38" name="Picture Placeholder 37">
            <a:extLst>
              <a:ext uri="{FF2B5EF4-FFF2-40B4-BE49-F238E27FC236}">
                <a16:creationId xmlns:a16="http://schemas.microsoft.com/office/drawing/2014/main" id="{2B58D8B3-BF23-4FE0-857B-E68ED32579C1}"/>
              </a:ext>
            </a:extLst>
          </p:cNvPr>
          <p:cNvSpPr>
            <a:spLocks noGrp="1"/>
          </p:cNvSpPr>
          <p:nvPr>
            <p:ph type="pic" sz="quarter" idx="14" hasCustomPrompt="1"/>
          </p:nvPr>
        </p:nvSpPr>
        <p:spPr>
          <a:xfrm>
            <a:off x="6096000" y="0"/>
            <a:ext cx="6096000" cy="6858000"/>
          </a:xfrm>
          <a:custGeom>
            <a:avLst/>
            <a:gdLst>
              <a:gd name="connsiteX0" fmla="*/ 5358881 w 6096000"/>
              <a:gd name="connsiteY0" fmla="*/ 647700 h 6858000"/>
              <a:gd name="connsiteX1" fmla="*/ 5313581 w 6096000"/>
              <a:gd name="connsiteY1" fmla="*/ 729366 h 6858000"/>
              <a:gd name="connsiteX2" fmla="*/ 5243152 w 6096000"/>
              <a:gd name="connsiteY2" fmla="*/ 668105 h 6858000"/>
              <a:gd name="connsiteX3" fmla="*/ 5228554 w 6096000"/>
              <a:gd name="connsiteY3" fmla="*/ 760326 h 6858000"/>
              <a:gd name="connsiteX4" fmla="*/ 5141410 w 6096000"/>
              <a:gd name="connsiteY4" fmla="*/ 726827 h 6858000"/>
              <a:gd name="connsiteX5" fmla="*/ 5159229 w 6096000"/>
              <a:gd name="connsiteY5" fmla="*/ 818508 h 6858000"/>
              <a:gd name="connsiteX6" fmla="*/ 5065857 w 6096000"/>
              <a:gd name="connsiteY6" fmla="*/ 816862 h 6858000"/>
              <a:gd name="connsiteX7" fmla="*/ 5113906 w 6096000"/>
              <a:gd name="connsiteY7" fmla="*/ 896882 h 6858000"/>
              <a:gd name="connsiteX8" fmla="*/ 5025658 w 6096000"/>
              <a:gd name="connsiteY8" fmla="*/ 927278 h 6858000"/>
              <a:gd name="connsiteX9" fmla="*/ 5098226 w 6096000"/>
              <a:gd name="connsiteY9" fmla="*/ 986024 h 6858000"/>
              <a:gd name="connsiteX10" fmla="*/ 5025658 w 6096000"/>
              <a:gd name="connsiteY10" fmla="*/ 1044770 h 6858000"/>
              <a:gd name="connsiteX11" fmla="*/ 5113906 w 6096000"/>
              <a:gd name="connsiteY11" fmla="*/ 1075142 h 6858000"/>
              <a:gd name="connsiteX12" fmla="*/ 5065857 w 6096000"/>
              <a:gd name="connsiteY12" fmla="*/ 1155232 h 6858000"/>
              <a:gd name="connsiteX13" fmla="*/ 5159229 w 6096000"/>
              <a:gd name="connsiteY13" fmla="*/ 1153563 h 6858000"/>
              <a:gd name="connsiteX14" fmla="*/ 5141410 w 6096000"/>
              <a:gd name="connsiteY14" fmla="*/ 1245221 h 6858000"/>
              <a:gd name="connsiteX15" fmla="*/ 5228554 w 6096000"/>
              <a:gd name="connsiteY15" fmla="*/ 1211792 h 6858000"/>
              <a:gd name="connsiteX16" fmla="*/ 5243152 w 6096000"/>
              <a:gd name="connsiteY16" fmla="*/ 1303990 h 6858000"/>
              <a:gd name="connsiteX17" fmla="*/ 5313581 w 6096000"/>
              <a:gd name="connsiteY17" fmla="*/ 1242752 h 6858000"/>
              <a:gd name="connsiteX18" fmla="*/ 5358881 w 6096000"/>
              <a:gd name="connsiteY18" fmla="*/ 1324394 h 6858000"/>
              <a:gd name="connsiteX19" fmla="*/ 5404180 w 6096000"/>
              <a:gd name="connsiteY19" fmla="*/ 1242752 h 6858000"/>
              <a:gd name="connsiteX20" fmla="*/ 5474609 w 6096000"/>
              <a:gd name="connsiteY20" fmla="*/ 1303990 h 6858000"/>
              <a:gd name="connsiteX21" fmla="*/ 5489184 w 6096000"/>
              <a:gd name="connsiteY21" fmla="*/ 1211792 h 6858000"/>
              <a:gd name="connsiteX22" fmla="*/ 5576351 w 6096000"/>
              <a:gd name="connsiteY22" fmla="*/ 1245221 h 6858000"/>
              <a:gd name="connsiteX23" fmla="*/ 5558509 w 6096000"/>
              <a:gd name="connsiteY23" fmla="*/ 1153563 h 6858000"/>
              <a:gd name="connsiteX24" fmla="*/ 5651881 w 6096000"/>
              <a:gd name="connsiteY24" fmla="*/ 1155232 h 6858000"/>
              <a:gd name="connsiteX25" fmla="*/ 5603785 w 6096000"/>
              <a:gd name="connsiteY25" fmla="*/ 1075142 h 6858000"/>
              <a:gd name="connsiteX26" fmla="*/ 5692056 w 6096000"/>
              <a:gd name="connsiteY26" fmla="*/ 1044770 h 6858000"/>
              <a:gd name="connsiteX27" fmla="*/ 5619464 w 6096000"/>
              <a:gd name="connsiteY27" fmla="*/ 986024 h 6858000"/>
              <a:gd name="connsiteX28" fmla="*/ 5692056 w 6096000"/>
              <a:gd name="connsiteY28" fmla="*/ 927278 h 6858000"/>
              <a:gd name="connsiteX29" fmla="*/ 5603785 w 6096000"/>
              <a:gd name="connsiteY29" fmla="*/ 896882 h 6858000"/>
              <a:gd name="connsiteX30" fmla="*/ 5651881 w 6096000"/>
              <a:gd name="connsiteY30" fmla="*/ 816815 h 6858000"/>
              <a:gd name="connsiteX31" fmla="*/ 5558509 w 6096000"/>
              <a:gd name="connsiteY31" fmla="*/ 818508 h 6858000"/>
              <a:gd name="connsiteX32" fmla="*/ 5576351 w 6096000"/>
              <a:gd name="connsiteY32" fmla="*/ 726827 h 6858000"/>
              <a:gd name="connsiteX33" fmla="*/ 5489184 w 6096000"/>
              <a:gd name="connsiteY33" fmla="*/ 760278 h 6858000"/>
              <a:gd name="connsiteX34" fmla="*/ 5474609 w 6096000"/>
              <a:gd name="connsiteY34" fmla="*/ 668105 h 6858000"/>
              <a:gd name="connsiteX35" fmla="*/ 5404180 w 6096000"/>
              <a:gd name="connsiteY35" fmla="*/ 729366 h 6858000"/>
              <a:gd name="connsiteX36" fmla="*/ 5358881 w 6096000"/>
              <a:gd name="connsiteY36" fmla="*/ 647700 h 6858000"/>
              <a:gd name="connsiteX37" fmla="*/ 5633981 w 6096000"/>
              <a:gd name="connsiteY37" fmla="*/ 502880 h 6858000"/>
              <a:gd name="connsiteX38" fmla="*/ 5633981 w 6096000"/>
              <a:gd name="connsiteY38" fmla="*/ 502903 h 6858000"/>
              <a:gd name="connsiteX39" fmla="*/ 5666227 w 6096000"/>
              <a:gd name="connsiteY39" fmla="*/ 545891 h 6858000"/>
              <a:gd name="connsiteX40" fmla="*/ 5656651 w 6096000"/>
              <a:gd name="connsiteY40" fmla="*/ 582565 h 6858000"/>
              <a:gd name="connsiteX41" fmla="*/ 5631907 w 6096000"/>
              <a:gd name="connsiteY41" fmla="*/ 594005 h 6858000"/>
              <a:gd name="connsiteX42" fmla="*/ 5598938 w 6096000"/>
              <a:gd name="connsiteY42" fmla="*/ 550551 h 6858000"/>
              <a:gd name="connsiteX43" fmla="*/ 5633981 w 6096000"/>
              <a:gd name="connsiteY43" fmla="*/ 502880 h 6858000"/>
              <a:gd name="connsiteX44" fmla="*/ 5505016 w 6096000"/>
              <a:gd name="connsiteY44" fmla="*/ 500318 h 6858000"/>
              <a:gd name="connsiteX45" fmla="*/ 5537985 w 6096000"/>
              <a:gd name="connsiteY45" fmla="*/ 545869 h 6858000"/>
              <a:gd name="connsiteX46" fmla="*/ 5504107 w 6096000"/>
              <a:gd name="connsiteY46" fmla="*/ 591420 h 6858000"/>
              <a:gd name="connsiteX47" fmla="*/ 5471395 w 6096000"/>
              <a:gd name="connsiteY47" fmla="*/ 547034 h 6858000"/>
              <a:gd name="connsiteX48" fmla="*/ 5505016 w 6096000"/>
              <a:gd name="connsiteY48" fmla="*/ 500318 h 6858000"/>
              <a:gd name="connsiteX49" fmla="*/ 5639875 w 6096000"/>
              <a:gd name="connsiteY49" fmla="*/ 486547 h 6858000"/>
              <a:gd name="connsiteX50" fmla="*/ 5599916 w 6096000"/>
              <a:gd name="connsiteY50" fmla="*/ 507796 h 6858000"/>
              <a:gd name="connsiteX51" fmla="*/ 5599450 w 6096000"/>
              <a:gd name="connsiteY51" fmla="*/ 488411 h 6858000"/>
              <a:gd name="connsiteX52" fmla="*/ 5577269 w 6096000"/>
              <a:gd name="connsiteY52" fmla="*/ 488411 h 6858000"/>
              <a:gd name="connsiteX53" fmla="*/ 5577968 w 6096000"/>
              <a:gd name="connsiteY53" fmla="*/ 507563 h 6858000"/>
              <a:gd name="connsiteX54" fmla="*/ 5577968 w 6096000"/>
              <a:gd name="connsiteY54" fmla="*/ 650764 h 6858000"/>
              <a:gd name="connsiteX55" fmla="*/ 5599660 w 6096000"/>
              <a:gd name="connsiteY55" fmla="*/ 650764 h 6858000"/>
              <a:gd name="connsiteX56" fmla="*/ 5599660 w 6096000"/>
              <a:gd name="connsiteY56" fmla="*/ 592607 h 6858000"/>
              <a:gd name="connsiteX57" fmla="*/ 5635635 w 6096000"/>
              <a:gd name="connsiteY57" fmla="*/ 610129 h 6858000"/>
              <a:gd name="connsiteX58" fmla="*/ 5689108 w 6096000"/>
              <a:gd name="connsiteY58" fmla="*/ 547289 h 6858000"/>
              <a:gd name="connsiteX59" fmla="*/ 5639875 w 6096000"/>
              <a:gd name="connsiteY59" fmla="*/ 486547 h 6858000"/>
              <a:gd name="connsiteX60" fmla="*/ 5449912 w 6096000"/>
              <a:gd name="connsiteY60" fmla="*/ 443583 h 6858000"/>
              <a:gd name="connsiteX61" fmla="*/ 5449912 w 6096000"/>
              <a:gd name="connsiteY61" fmla="*/ 584663 h 6858000"/>
              <a:gd name="connsiteX62" fmla="*/ 5449423 w 6096000"/>
              <a:gd name="connsiteY62" fmla="*/ 605679 h 6858000"/>
              <a:gd name="connsiteX63" fmla="*/ 5470649 w 6096000"/>
              <a:gd name="connsiteY63" fmla="*/ 605679 h 6858000"/>
              <a:gd name="connsiteX64" fmla="*/ 5471138 w 6096000"/>
              <a:gd name="connsiteY64" fmla="*/ 587925 h 6858000"/>
              <a:gd name="connsiteX65" fmla="*/ 5482602 w 6096000"/>
              <a:gd name="connsiteY65" fmla="*/ 599831 h 6858000"/>
              <a:gd name="connsiteX66" fmla="*/ 5508744 w 6096000"/>
              <a:gd name="connsiteY66" fmla="*/ 607310 h 6858000"/>
              <a:gd name="connsiteX67" fmla="*/ 5549891 w 6096000"/>
              <a:gd name="connsiteY67" fmla="*/ 587226 h 6858000"/>
              <a:gd name="connsiteX68" fmla="*/ 5561075 w 6096000"/>
              <a:gd name="connsiteY68" fmla="*/ 544471 h 6858000"/>
              <a:gd name="connsiteX69" fmla="*/ 5547305 w 6096000"/>
              <a:gd name="connsiteY69" fmla="*/ 500318 h 6858000"/>
              <a:gd name="connsiteX70" fmla="*/ 5510142 w 6096000"/>
              <a:gd name="connsiteY70" fmla="*/ 485359 h 6858000"/>
              <a:gd name="connsiteX71" fmla="*/ 5471837 w 6096000"/>
              <a:gd name="connsiteY71" fmla="*/ 505444 h 6858000"/>
              <a:gd name="connsiteX72" fmla="*/ 5471837 w 6096000"/>
              <a:gd name="connsiteY72" fmla="*/ 443583 h 6858000"/>
              <a:gd name="connsiteX73" fmla="*/ 0 w 6096000"/>
              <a:gd name="connsiteY73" fmla="*/ 0 h 6858000"/>
              <a:gd name="connsiteX74" fmla="*/ 6096000 w 6096000"/>
              <a:gd name="connsiteY74" fmla="*/ 0 h 6858000"/>
              <a:gd name="connsiteX75" fmla="*/ 6096000 w 6096000"/>
              <a:gd name="connsiteY75" fmla="*/ 6858000 h 6858000"/>
              <a:gd name="connsiteX76" fmla="*/ 0 w 6096000"/>
              <a:gd name="connsiteY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0" h="6858000">
                <a:moveTo>
                  <a:pt x="5358881" y="647700"/>
                </a:moveTo>
                <a:cubicBezTo>
                  <a:pt x="5350747" y="659854"/>
                  <a:pt x="5330248" y="689944"/>
                  <a:pt x="5313581" y="729366"/>
                </a:cubicBezTo>
                <a:cubicBezTo>
                  <a:pt x="5284479" y="697983"/>
                  <a:pt x="5254929" y="676755"/>
                  <a:pt x="5243152" y="668105"/>
                </a:cubicBezTo>
                <a:cubicBezTo>
                  <a:pt x="5239673" y="682280"/>
                  <a:pt x="5230716" y="717565"/>
                  <a:pt x="5228554" y="760326"/>
                </a:cubicBezTo>
                <a:cubicBezTo>
                  <a:pt x="5190471" y="740838"/>
                  <a:pt x="5155420" y="730965"/>
                  <a:pt x="5141410" y="726827"/>
                </a:cubicBezTo>
                <a:cubicBezTo>
                  <a:pt x="5142985" y="741378"/>
                  <a:pt x="5146605" y="777604"/>
                  <a:pt x="5159229" y="818508"/>
                </a:cubicBezTo>
                <a:cubicBezTo>
                  <a:pt x="5116750" y="813171"/>
                  <a:pt x="5080478" y="815898"/>
                  <a:pt x="5065857" y="816862"/>
                </a:cubicBezTo>
                <a:cubicBezTo>
                  <a:pt x="5072321" y="829956"/>
                  <a:pt x="5088142" y="862749"/>
                  <a:pt x="5113906" y="896882"/>
                </a:cubicBezTo>
                <a:cubicBezTo>
                  <a:pt x="5072227" y="906403"/>
                  <a:pt x="5039058" y="921378"/>
                  <a:pt x="5025658" y="927278"/>
                </a:cubicBezTo>
                <a:cubicBezTo>
                  <a:pt x="5036237" y="937362"/>
                  <a:pt x="5062306" y="962774"/>
                  <a:pt x="5098226" y="986024"/>
                </a:cubicBezTo>
                <a:cubicBezTo>
                  <a:pt x="5062306" y="1009226"/>
                  <a:pt x="5036237" y="1034709"/>
                  <a:pt x="5025658" y="1044770"/>
                </a:cubicBezTo>
                <a:cubicBezTo>
                  <a:pt x="5039058" y="1050670"/>
                  <a:pt x="5072227" y="1065621"/>
                  <a:pt x="5113906" y="1075142"/>
                </a:cubicBezTo>
                <a:cubicBezTo>
                  <a:pt x="5088142" y="1109275"/>
                  <a:pt x="5072321" y="1142068"/>
                  <a:pt x="5065857" y="1155232"/>
                </a:cubicBezTo>
                <a:cubicBezTo>
                  <a:pt x="5080478" y="1156126"/>
                  <a:pt x="5116750" y="1158852"/>
                  <a:pt x="5159229" y="1153563"/>
                </a:cubicBezTo>
                <a:cubicBezTo>
                  <a:pt x="5146629" y="1194443"/>
                  <a:pt x="5142985" y="1230692"/>
                  <a:pt x="5141410" y="1245221"/>
                </a:cubicBezTo>
                <a:cubicBezTo>
                  <a:pt x="5155420" y="1241106"/>
                  <a:pt x="5190471" y="1231257"/>
                  <a:pt x="5228554" y="1211792"/>
                </a:cubicBezTo>
                <a:cubicBezTo>
                  <a:pt x="5230716" y="1254483"/>
                  <a:pt x="5239673" y="1289768"/>
                  <a:pt x="5243152" y="1303990"/>
                </a:cubicBezTo>
                <a:cubicBezTo>
                  <a:pt x="5254929" y="1295315"/>
                  <a:pt x="5284479" y="1274088"/>
                  <a:pt x="5313581" y="1242752"/>
                </a:cubicBezTo>
                <a:cubicBezTo>
                  <a:pt x="5330248" y="1282151"/>
                  <a:pt x="5350747" y="1312241"/>
                  <a:pt x="5358881" y="1324394"/>
                </a:cubicBezTo>
                <a:cubicBezTo>
                  <a:pt x="5366991" y="1312217"/>
                  <a:pt x="5387489" y="1282151"/>
                  <a:pt x="5404180" y="1242752"/>
                </a:cubicBezTo>
                <a:cubicBezTo>
                  <a:pt x="5433236" y="1274111"/>
                  <a:pt x="5462832" y="1295339"/>
                  <a:pt x="5474609" y="1303990"/>
                </a:cubicBezTo>
                <a:cubicBezTo>
                  <a:pt x="5478065" y="1289768"/>
                  <a:pt x="5487046" y="1254506"/>
                  <a:pt x="5489184" y="1211792"/>
                </a:cubicBezTo>
                <a:cubicBezTo>
                  <a:pt x="5527267" y="1231280"/>
                  <a:pt x="5562294" y="1241130"/>
                  <a:pt x="5576351" y="1245221"/>
                </a:cubicBezTo>
                <a:cubicBezTo>
                  <a:pt x="5574776" y="1230692"/>
                  <a:pt x="5571109" y="1194467"/>
                  <a:pt x="5558509" y="1153563"/>
                </a:cubicBezTo>
                <a:cubicBezTo>
                  <a:pt x="5600964" y="1158877"/>
                  <a:pt x="5637283" y="1156149"/>
                  <a:pt x="5651881" y="1155232"/>
                </a:cubicBezTo>
                <a:cubicBezTo>
                  <a:pt x="5645393" y="1142068"/>
                  <a:pt x="5629644" y="1109299"/>
                  <a:pt x="5603785" y="1075142"/>
                </a:cubicBezTo>
                <a:cubicBezTo>
                  <a:pt x="5645511" y="1065621"/>
                  <a:pt x="5678727" y="1050670"/>
                  <a:pt x="5692056" y="1044770"/>
                </a:cubicBezTo>
                <a:cubicBezTo>
                  <a:pt x="5681502" y="1034685"/>
                  <a:pt x="5655431" y="1009202"/>
                  <a:pt x="5619464" y="986024"/>
                </a:cubicBezTo>
                <a:cubicBezTo>
                  <a:pt x="5655431" y="962774"/>
                  <a:pt x="5681502" y="937362"/>
                  <a:pt x="5692056" y="927278"/>
                </a:cubicBezTo>
                <a:cubicBezTo>
                  <a:pt x="5678727" y="921378"/>
                  <a:pt x="5645534" y="906427"/>
                  <a:pt x="5603785" y="896882"/>
                </a:cubicBezTo>
                <a:cubicBezTo>
                  <a:pt x="5629644" y="862726"/>
                  <a:pt x="5645393" y="829956"/>
                  <a:pt x="5651881" y="816815"/>
                </a:cubicBezTo>
                <a:cubicBezTo>
                  <a:pt x="5637283" y="815922"/>
                  <a:pt x="5600964" y="813195"/>
                  <a:pt x="5558509" y="818508"/>
                </a:cubicBezTo>
                <a:cubicBezTo>
                  <a:pt x="5571109" y="777604"/>
                  <a:pt x="5574776" y="741378"/>
                  <a:pt x="5576351" y="726827"/>
                </a:cubicBezTo>
                <a:cubicBezTo>
                  <a:pt x="5562294" y="730918"/>
                  <a:pt x="5527267" y="740791"/>
                  <a:pt x="5489184" y="760278"/>
                </a:cubicBezTo>
                <a:cubicBezTo>
                  <a:pt x="5487046" y="717565"/>
                  <a:pt x="5478065" y="682280"/>
                  <a:pt x="5474609" y="668105"/>
                </a:cubicBezTo>
                <a:cubicBezTo>
                  <a:pt x="5462832" y="676755"/>
                  <a:pt x="5433236" y="697983"/>
                  <a:pt x="5404180" y="729366"/>
                </a:cubicBezTo>
                <a:cubicBezTo>
                  <a:pt x="5387489" y="689944"/>
                  <a:pt x="5366991" y="659877"/>
                  <a:pt x="5358881" y="647700"/>
                </a:cubicBezTo>
                <a:close/>
                <a:moveTo>
                  <a:pt x="5633981" y="502880"/>
                </a:moveTo>
                <a:lnTo>
                  <a:pt x="5633981" y="502903"/>
                </a:lnTo>
                <a:cubicBezTo>
                  <a:pt x="5659913" y="502903"/>
                  <a:pt x="5666227" y="524875"/>
                  <a:pt x="5666227" y="545891"/>
                </a:cubicBezTo>
                <a:cubicBezTo>
                  <a:pt x="5666227" y="554303"/>
                  <a:pt x="5665062" y="571125"/>
                  <a:pt x="5656651" y="582565"/>
                </a:cubicBezTo>
                <a:cubicBezTo>
                  <a:pt x="5649172" y="592840"/>
                  <a:pt x="5637499" y="594005"/>
                  <a:pt x="5631907" y="594005"/>
                </a:cubicBezTo>
                <a:cubicBezTo>
                  <a:pt x="5601058" y="594005"/>
                  <a:pt x="5598938" y="564811"/>
                  <a:pt x="5598938" y="550551"/>
                </a:cubicBezTo>
                <a:cubicBezTo>
                  <a:pt x="5598938" y="540043"/>
                  <a:pt x="5598938" y="502880"/>
                  <a:pt x="5633981" y="502880"/>
                </a:cubicBezTo>
                <a:close/>
                <a:moveTo>
                  <a:pt x="5505016" y="500318"/>
                </a:moveTo>
                <a:cubicBezTo>
                  <a:pt x="5535655" y="500318"/>
                  <a:pt x="5537985" y="534196"/>
                  <a:pt x="5537985" y="545869"/>
                </a:cubicBezTo>
                <a:cubicBezTo>
                  <a:pt x="5537985" y="565021"/>
                  <a:pt x="5531205" y="591420"/>
                  <a:pt x="5504107" y="591420"/>
                </a:cubicBezTo>
                <a:cubicBezTo>
                  <a:pt x="5471395" y="591420"/>
                  <a:pt x="5471395" y="554746"/>
                  <a:pt x="5471395" y="547034"/>
                </a:cubicBezTo>
                <a:cubicBezTo>
                  <a:pt x="5471395" y="539322"/>
                  <a:pt x="5471395" y="500318"/>
                  <a:pt x="5505016" y="500318"/>
                </a:cubicBezTo>
                <a:close/>
                <a:moveTo>
                  <a:pt x="5639875" y="486547"/>
                </a:moveTo>
                <a:cubicBezTo>
                  <a:pt x="5630299" y="486547"/>
                  <a:pt x="5610890" y="489343"/>
                  <a:pt x="5599916" y="507796"/>
                </a:cubicBezTo>
                <a:lnTo>
                  <a:pt x="5599450" y="488411"/>
                </a:lnTo>
                <a:lnTo>
                  <a:pt x="5577269" y="488411"/>
                </a:lnTo>
                <a:cubicBezTo>
                  <a:pt x="5577735" y="499618"/>
                  <a:pt x="5577968" y="502414"/>
                  <a:pt x="5577968" y="507563"/>
                </a:cubicBezTo>
                <a:lnTo>
                  <a:pt x="5577968" y="650764"/>
                </a:lnTo>
                <a:lnTo>
                  <a:pt x="5599660" y="650764"/>
                </a:lnTo>
                <a:lnTo>
                  <a:pt x="5599660" y="592607"/>
                </a:lnTo>
                <a:cubicBezTo>
                  <a:pt x="5605951" y="602883"/>
                  <a:pt x="5618579" y="610129"/>
                  <a:pt x="5635635" y="610129"/>
                </a:cubicBezTo>
                <a:cubicBezTo>
                  <a:pt x="5663688" y="610129"/>
                  <a:pt x="5689108" y="590976"/>
                  <a:pt x="5689108" y="547289"/>
                </a:cubicBezTo>
                <a:cubicBezTo>
                  <a:pt x="5689108" y="503602"/>
                  <a:pt x="5665086" y="486547"/>
                  <a:pt x="5639875" y="486547"/>
                </a:cubicBezTo>
                <a:close/>
                <a:moveTo>
                  <a:pt x="5449912" y="443583"/>
                </a:moveTo>
                <a:lnTo>
                  <a:pt x="5449912" y="584663"/>
                </a:lnTo>
                <a:lnTo>
                  <a:pt x="5449423" y="605679"/>
                </a:lnTo>
                <a:lnTo>
                  <a:pt x="5470649" y="605679"/>
                </a:lnTo>
                <a:lnTo>
                  <a:pt x="5471138" y="587925"/>
                </a:lnTo>
                <a:cubicBezTo>
                  <a:pt x="5473492" y="591420"/>
                  <a:pt x="5476055" y="595404"/>
                  <a:pt x="5482602" y="599831"/>
                </a:cubicBezTo>
                <a:cubicBezTo>
                  <a:pt x="5492667" y="606611"/>
                  <a:pt x="5503152" y="607310"/>
                  <a:pt x="5508744" y="607310"/>
                </a:cubicBezTo>
                <a:cubicBezTo>
                  <a:pt x="5524867" y="607310"/>
                  <a:pt x="5540525" y="600530"/>
                  <a:pt x="5549891" y="587226"/>
                </a:cubicBezTo>
                <a:cubicBezTo>
                  <a:pt x="5555716" y="579514"/>
                  <a:pt x="5561075" y="567141"/>
                  <a:pt x="5561075" y="544471"/>
                </a:cubicBezTo>
                <a:cubicBezTo>
                  <a:pt x="5561075" y="518771"/>
                  <a:pt x="5553130" y="507098"/>
                  <a:pt x="5547305" y="500318"/>
                </a:cubicBezTo>
                <a:cubicBezTo>
                  <a:pt x="5536564" y="488179"/>
                  <a:pt x="5521815" y="485359"/>
                  <a:pt x="5510142" y="485359"/>
                </a:cubicBezTo>
                <a:cubicBezTo>
                  <a:pt x="5483510" y="485359"/>
                  <a:pt x="5474866" y="500085"/>
                  <a:pt x="5471837" y="505444"/>
                </a:cubicBezTo>
                <a:lnTo>
                  <a:pt x="5471837" y="443583"/>
                </a:ln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13" name="Text Placeholder 9">
            <a:extLst>
              <a:ext uri="{FF2B5EF4-FFF2-40B4-BE49-F238E27FC236}">
                <a16:creationId xmlns:a16="http://schemas.microsoft.com/office/drawing/2014/main" id="{31621EE2-0065-497C-8006-E9EE58954E26}"/>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4" name="Text Placeholder 9">
            <a:extLst>
              <a:ext uri="{FF2B5EF4-FFF2-40B4-BE49-F238E27FC236}">
                <a16:creationId xmlns:a16="http://schemas.microsoft.com/office/drawing/2014/main" id="{3325AEAC-6729-405D-BC7C-E958AD3F7DA8}"/>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547AE93C-5E21-43B2-997D-3D2D0CDC73B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7988" y="6174856"/>
            <a:ext cx="944562" cy="450814"/>
          </a:xfrm>
          <a:prstGeom prst="rect">
            <a:avLst/>
          </a:prstGeom>
        </p:spPr>
      </p:pic>
      <p:sp>
        <p:nvSpPr>
          <p:cNvPr id="9" name="Text Placeholder 9">
            <a:extLst>
              <a:ext uri="{FF2B5EF4-FFF2-40B4-BE49-F238E27FC236}">
                <a16:creationId xmlns:a16="http://schemas.microsoft.com/office/drawing/2014/main" id="{FC7ABA1A-C2E3-4225-A651-88CFB34E22D7}"/>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accent5"/>
                </a:solidFill>
              </a:defRPr>
            </a:lvl1pPr>
            <a:lvl2pPr marL="0" indent="0">
              <a:lnSpc>
                <a:spcPct val="90000"/>
              </a:lnSpc>
              <a:spcBef>
                <a:spcPts val="500"/>
              </a:spcBef>
              <a:buNone/>
              <a:defRPr sz="4800">
                <a:solidFill>
                  <a:schemeClr val="accent1"/>
                </a:solidFill>
                <a:latin typeface="+mn-lt"/>
              </a:defRPr>
            </a:lvl2pPr>
            <a:lvl3pPr marL="0" indent="0">
              <a:lnSpc>
                <a:spcPct val="90000"/>
              </a:lnSpc>
              <a:buNone/>
              <a:defRPr sz="4800">
                <a:solidFill>
                  <a:schemeClr val="accent5"/>
                </a:solidFill>
              </a:defRPr>
            </a:lvl3pPr>
            <a:lvl4pPr marL="0" indent="0">
              <a:lnSpc>
                <a:spcPct val="90000"/>
              </a:lnSpc>
              <a:buFont typeface="Arial" panose="020B0604020202020204" pitchFamily="34" charset="0"/>
              <a:buNone/>
              <a:defRPr sz="4800">
                <a:solidFill>
                  <a:schemeClr val="accent5"/>
                </a:solidFill>
              </a:defRPr>
            </a:lvl4pPr>
            <a:lvl5pPr marL="0" indent="0">
              <a:lnSpc>
                <a:spcPct val="90000"/>
              </a:lnSpc>
              <a:buFont typeface="Arial" panose="020B0604020202020204" pitchFamily="34" charset="0"/>
              <a:buNone/>
              <a:defRPr sz="4800">
                <a:solidFill>
                  <a:schemeClr val="accent5"/>
                </a:solidFill>
              </a:defRPr>
            </a:lvl5pPr>
            <a:lvl6pPr>
              <a:defRPr sz="4800">
                <a:solidFill>
                  <a:schemeClr val="accent5"/>
                </a:solidFill>
              </a:defRPr>
            </a:lvl6pPr>
            <a:lvl7pPr>
              <a:defRPr sz="4800">
                <a:solidFill>
                  <a:schemeClr val="accent5"/>
                </a:solidFill>
              </a:defRPr>
            </a:lvl7pPr>
            <a:lvl8pPr>
              <a:defRPr sz="4800">
                <a:solidFill>
                  <a:schemeClr val="accent5"/>
                </a:solidFill>
              </a:defRPr>
            </a:lvl8pPr>
            <a:lvl9pPr>
              <a:defRPr sz="48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56261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Light Green">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chemeClr val="accent5"/>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chemeClr val="accent5"/>
                </a:solidFill>
              </a:defRPr>
            </a:lvl1pPr>
          </a:lstStyle>
          <a:p>
            <a:fld id="{558C4CC7-2A35-421E-B553-155EEFD58513}" type="slidenum">
              <a:rPr lang="en-GB" smtClean="0"/>
              <a:pPr/>
              <a:t>‹#›</a:t>
            </a:fld>
            <a:endParaRPr lang="en-GB"/>
          </a:p>
        </p:txBody>
      </p:sp>
      <p:sp>
        <p:nvSpPr>
          <p:cNvPr id="7" name="Text Placeholder 6">
            <a:extLst>
              <a:ext uri="{FF2B5EF4-FFF2-40B4-BE49-F238E27FC236}">
                <a16:creationId xmlns:a16="http://schemas.microsoft.com/office/drawing/2014/main" id="{E9A8EADE-6788-4302-91F4-9FD5FA65AF55}"/>
              </a:ext>
            </a:extLst>
          </p:cNvPr>
          <p:cNvSpPr>
            <a:spLocks noGrp="1"/>
          </p:cNvSpPr>
          <p:nvPr>
            <p:ph type="body" sz="quarter" idx="12" hasCustomPrompt="1"/>
          </p:nvPr>
        </p:nvSpPr>
        <p:spPr>
          <a:xfrm>
            <a:off x="2463800" y="2009775"/>
            <a:ext cx="7264400" cy="2838450"/>
          </a:xfrm>
        </p:spPr>
        <p:txBody>
          <a:bodyPr anchor="ctr">
            <a:noAutofit/>
          </a:bodyPr>
          <a:lstStyle>
            <a:lvl1pPr marL="0" indent="0" algn="ctr">
              <a:spcBef>
                <a:spcPts val="0"/>
              </a:spcBef>
              <a:buFont typeface="Arial" panose="020B0604020202020204" pitchFamily="34" charset="0"/>
              <a:buNone/>
              <a:defRPr sz="5400">
                <a:solidFill>
                  <a:schemeClr val="accent5"/>
                </a:solidFill>
              </a:defRPr>
            </a:lvl1pPr>
            <a:lvl2pPr marL="0" indent="0" algn="ctr">
              <a:buNone/>
              <a:defRPr sz="5400">
                <a:solidFill>
                  <a:schemeClr val="accent5"/>
                </a:solidFill>
              </a:defRPr>
            </a:lvl2pPr>
            <a:lvl3pPr marL="0" indent="0" algn="ctr">
              <a:buNone/>
              <a:defRPr sz="5400">
                <a:solidFill>
                  <a:schemeClr val="accent5"/>
                </a:solidFill>
              </a:defRPr>
            </a:lvl3pPr>
            <a:lvl4pPr marL="0" indent="0" algn="ctr">
              <a:buFont typeface="Arial" panose="020B0604020202020204" pitchFamily="34" charset="0"/>
              <a:buNone/>
              <a:defRPr sz="5400">
                <a:solidFill>
                  <a:schemeClr val="accent5"/>
                </a:solidFill>
              </a:defRPr>
            </a:lvl4pPr>
            <a:lvl5pPr marL="0" indent="0" algn="ctr">
              <a:buFont typeface="Arial" panose="020B0604020202020204" pitchFamily="34" charset="0"/>
              <a:buNone/>
              <a:defRPr sz="5400">
                <a:solidFill>
                  <a:schemeClr val="accent5"/>
                </a:solidFill>
              </a:defRPr>
            </a:lvl5pPr>
            <a:lvl6pPr algn="ctr">
              <a:defRPr sz="5400">
                <a:solidFill>
                  <a:schemeClr val="accent5"/>
                </a:solidFill>
              </a:defRPr>
            </a:lvl6pPr>
            <a:lvl7pPr algn="ctr">
              <a:defRPr sz="5400">
                <a:solidFill>
                  <a:schemeClr val="accent5"/>
                </a:solidFill>
              </a:defRPr>
            </a:lvl7pPr>
            <a:lvl8pPr algn="ctr">
              <a:defRPr sz="5400">
                <a:solidFill>
                  <a:schemeClr val="accent5"/>
                </a:solidFill>
              </a:defRPr>
            </a:lvl8pPr>
            <a:lvl9pPr algn="ctr">
              <a:defRPr sz="5400">
                <a:solidFill>
                  <a:schemeClr val="accent5"/>
                </a:solidFill>
              </a:defRPr>
            </a:lvl9pPr>
          </a:lstStyle>
          <a:p>
            <a:pPr lvl="0"/>
            <a:r>
              <a:rPr lang="en-US"/>
              <a:t>Quote</a:t>
            </a:r>
          </a:p>
        </p:txBody>
      </p:sp>
      <p:sp>
        <p:nvSpPr>
          <p:cNvPr id="9" name="Freeform: Shape 8">
            <a:extLst>
              <a:ext uri="{FF2B5EF4-FFF2-40B4-BE49-F238E27FC236}">
                <a16:creationId xmlns:a16="http://schemas.microsoft.com/office/drawing/2014/main" id="{66A237DB-48EA-4E37-999C-BBC7A72E7403}"/>
              </a:ext>
            </a:extLst>
          </p:cNvPr>
          <p:cNvSpPr/>
          <p:nvPr userDrawn="1"/>
        </p:nvSpPr>
        <p:spPr>
          <a:xfrm>
            <a:off x="1671687" y="1487988"/>
            <a:ext cx="652824" cy="435216"/>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8FC9B33E-8697-4348-8D33-032B43CA808E}"/>
              </a:ext>
            </a:extLst>
          </p:cNvPr>
          <p:cNvSpPr/>
          <p:nvPr userDrawn="1"/>
        </p:nvSpPr>
        <p:spPr>
          <a:xfrm rot="10800000">
            <a:off x="9867489" y="5069387"/>
            <a:ext cx="652824" cy="435216"/>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8" name="Graphic 7">
            <a:extLst>
              <a:ext uri="{FF2B5EF4-FFF2-40B4-BE49-F238E27FC236}">
                <a16:creationId xmlns:a16="http://schemas.microsoft.com/office/drawing/2014/main" id="{2DAEB92C-5765-4AA9-A634-9111BE9B58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290418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Dark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chemeClr val="bg1"/>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chemeClr val="bg1"/>
                </a:solidFill>
              </a:defRPr>
            </a:lvl1pPr>
          </a:lstStyle>
          <a:p>
            <a:fld id="{558C4CC7-2A35-421E-B553-155EEFD58513}" type="slidenum">
              <a:rPr lang="en-GB" smtClean="0"/>
              <a:pPr/>
              <a:t>‹#›</a:t>
            </a:fld>
            <a:endParaRPr lang="en-GB"/>
          </a:p>
        </p:txBody>
      </p:sp>
      <p:sp>
        <p:nvSpPr>
          <p:cNvPr id="7" name="Text Placeholder 6">
            <a:extLst>
              <a:ext uri="{FF2B5EF4-FFF2-40B4-BE49-F238E27FC236}">
                <a16:creationId xmlns:a16="http://schemas.microsoft.com/office/drawing/2014/main" id="{E9A8EADE-6788-4302-91F4-9FD5FA65AF55}"/>
              </a:ext>
            </a:extLst>
          </p:cNvPr>
          <p:cNvSpPr>
            <a:spLocks noGrp="1"/>
          </p:cNvSpPr>
          <p:nvPr>
            <p:ph type="body" sz="quarter" idx="12" hasCustomPrompt="1"/>
          </p:nvPr>
        </p:nvSpPr>
        <p:spPr>
          <a:xfrm>
            <a:off x="7059613" y="1691461"/>
            <a:ext cx="4044949" cy="3561745"/>
          </a:xfrm>
        </p:spPr>
        <p:txBody>
          <a:bodyPr anchor="ctr">
            <a:noAutofit/>
          </a:bodyPr>
          <a:lstStyle>
            <a:lvl1pPr marL="0" indent="0" algn="l">
              <a:spcBef>
                <a:spcPts val="0"/>
              </a:spcBef>
              <a:buFont typeface="Arial" panose="020B0604020202020204" pitchFamily="34" charset="0"/>
              <a:buNone/>
              <a:defRPr sz="4000">
                <a:solidFill>
                  <a:schemeClr val="bg1"/>
                </a:solidFill>
              </a:defRPr>
            </a:lvl1pPr>
            <a:lvl2pPr marL="0" indent="0">
              <a:buNone/>
              <a:defRPr sz="4000">
                <a:solidFill>
                  <a:schemeClr val="bg1"/>
                </a:solidFill>
              </a:defRPr>
            </a:lvl2pPr>
            <a:lvl3pPr marL="0" indent="0">
              <a:buNone/>
              <a:defRPr sz="4000">
                <a:solidFill>
                  <a:schemeClr val="bg1"/>
                </a:solidFill>
              </a:defRPr>
            </a:lvl3pPr>
            <a:lvl4pPr marL="0" indent="0">
              <a:buFont typeface="Arial" panose="020B0604020202020204" pitchFamily="34" charset="0"/>
              <a:buNone/>
              <a:defRPr sz="4000">
                <a:solidFill>
                  <a:schemeClr val="bg1"/>
                </a:solidFill>
              </a:defRPr>
            </a:lvl4pPr>
            <a:lvl5pPr marL="0" indent="0">
              <a:buFont typeface="Arial" panose="020B0604020202020204" pitchFamily="34" charset="0"/>
              <a:buNone/>
              <a:defRPr sz="4000">
                <a:solidFill>
                  <a:schemeClr val="bg1"/>
                </a:solidFill>
              </a:defRPr>
            </a:lvl5pPr>
            <a:lvl6pPr>
              <a:defRPr sz="4000">
                <a:solidFill>
                  <a:schemeClr val="bg1"/>
                </a:solidFill>
              </a:defRPr>
            </a:lvl6pPr>
            <a:lvl7pPr>
              <a:defRPr sz="4000">
                <a:solidFill>
                  <a:schemeClr val="bg1"/>
                </a:solidFill>
              </a:defRPr>
            </a:lvl7pPr>
            <a:lvl8pPr>
              <a:defRPr sz="4000">
                <a:solidFill>
                  <a:schemeClr val="bg1"/>
                </a:solidFill>
              </a:defRPr>
            </a:lvl8pPr>
            <a:lvl9pPr>
              <a:defRPr sz="4000">
                <a:solidFill>
                  <a:schemeClr val="bg1"/>
                </a:solidFill>
              </a:defRPr>
            </a:lvl9pPr>
          </a:lstStyle>
          <a:p>
            <a:pPr lvl="0"/>
            <a:r>
              <a:rPr lang="en-US"/>
              <a:t>Quote</a:t>
            </a:r>
          </a:p>
        </p:txBody>
      </p:sp>
      <p:sp>
        <p:nvSpPr>
          <p:cNvPr id="13" name="Freeform: Shape 12">
            <a:extLst>
              <a:ext uri="{FF2B5EF4-FFF2-40B4-BE49-F238E27FC236}">
                <a16:creationId xmlns:a16="http://schemas.microsoft.com/office/drawing/2014/main" id="{9E28FAB6-0552-450A-BABE-8D8E323CD905}"/>
              </a:ext>
            </a:extLst>
          </p:cNvPr>
          <p:cNvSpPr>
            <a:spLocks noChangeAspect="1"/>
          </p:cNvSpPr>
          <p:nvPr userDrawn="1"/>
        </p:nvSpPr>
        <p:spPr>
          <a:xfrm>
            <a:off x="6406213" y="1233203"/>
            <a:ext cx="653400" cy="435600"/>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Freeform: Shape 14">
            <a:extLst>
              <a:ext uri="{FF2B5EF4-FFF2-40B4-BE49-F238E27FC236}">
                <a16:creationId xmlns:a16="http://schemas.microsoft.com/office/drawing/2014/main" id="{75239746-0129-4117-B03D-3E983976AEFE}"/>
              </a:ext>
            </a:extLst>
          </p:cNvPr>
          <p:cNvSpPr>
            <a:spLocks noChangeAspect="1"/>
          </p:cNvSpPr>
          <p:nvPr userDrawn="1"/>
        </p:nvSpPr>
        <p:spPr>
          <a:xfrm rot="10800000">
            <a:off x="11104562" y="5275865"/>
            <a:ext cx="653400" cy="435600"/>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8" name="Graphic 7">
            <a:extLst>
              <a:ext uri="{FF2B5EF4-FFF2-40B4-BE49-F238E27FC236}">
                <a16:creationId xmlns:a16="http://schemas.microsoft.com/office/drawing/2014/main" id="{5A815468-BE1D-478C-9B3E-48745D888B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3971930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rgbClr val="898989"/>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rgbClr val="898989"/>
                </a:solidFill>
              </a:defRPr>
            </a:lvl1pPr>
          </a:lstStyle>
          <a:p>
            <a:fld id="{558C4CC7-2A35-421E-B553-155EEFD58513}" type="slidenum">
              <a:rPr lang="en-GB" smtClean="0"/>
              <a:pPr/>
              <a:t>‹#›</a:t>
            </a:fld>
            <a:endParaRPr lang="en-GB"/>
          </a:p>
        </p:txBody>
      </p:sp>
      <p:sp>
        <p:nvSpPr>
          <p:cNvPr id="7" name="Text Placeholder 6">
            <a:extLst>
              <a:ext uri="{FF2B5EF4-FFF2-40B4-BE49-F238E27FC236}">
                <a16:creationId xmlns:a16="http://schemas.microsoft.com/office/drawing/2014/main" id="{E9A8EADE-6788-4302-91F4-9FD5FA65AF55}"/>
              </a:ext>
            </a:extLst>
          </p:cNvPr>
          <p:cNvSpPr>
            <a:spLocks noGrp="1"/>
          </p:cNvSpPr>
          <p:nvPr>
            <p:ph type="body" sz="quarter" idx="12" hasCustomPrompt="1"/>
          </p:nvPr>
        </p:nvSpPr>
        <p:spPr>
          <a:xfrm>
            <a:off x="7059613" y="1691461"/>
            <a:ext cx="4044949" cy="3561745"/>
          </a:xfrm>
        </p:spPr>
        <p:txBody>
          <a:bodyPr anchor="ctr">
            <a:noAutofit/>
          </a:bodyPr>
          <a:lstStyle>
            <a:lvl1pPr marL="0" indent="0" algn="l">
              <a:spcBef>
                <a:spcPts val="0"/>
              </a:spcBef>
              <a:buFont typeface="Arial" panose="020B0604020202020204" pitchFamily="34" charset="0"/>
              <a:buNone/>
              <a:defRPr sz="4000">
                <a:solidFill>
                  <a:schemeClr val="accent1"/>
                </a:solidFill>
              </a:defRPr>
            </a:lvl1pPr>
            <a:lvl2pPr marL="0" indent="0">
              <a:buNone/>
              <a:defRPr sz="4000">
                <a:solidFill>
                  <a:schemeClr val="accent1"/>
                </a:solidFill>
              </a:defRPr>
            </a:lvl2pPr>
            <a:lvl3pPr marL="0" indent="0">
              <a:buNone/>
              <a:defRPr sz="4000">
                <a:solidFill>
                  <a:schemeClr val="accent1"/>
                </a:solidFill>
              </a:defRPr>
            </a:lvl3pPr>
            <a:lvl4pPr marL="0" indent="0">
              <a:buFont typeface="Arial" panose="020B0604020202020204" pitchFamily="34" charset="0"/>
              <a:buNone/>
              <a:defRPr sz="4000">
                <a:solidFill>
                  <a:schemeClr val="accent1"/>
                </a:solidFill>
              </a:defRPr>
            </a:lvl4pPr>
            <a:lvl5pPr marL="0" indent="0">
              <a:buFont typeface="Arial" panose="020B0604020202020204" pitchFamily="34" charset="0"/>
              <a:buNone/>
              <a:defRPr sz="4000">
                <a:solidFill>
                  <a:schemeClr val="accent1"/>
                </a:solidFill>
              </a:defRPr>
            </a:lvl5pPr>
            <a:lvl6pPr>
              <a:defRPr sz="4000">
                <a:solidFill>
                  <a:schemeClr val="accent1"/>
                </a:solidFill>
              </a:defRPr>
            </a:lvl6pPr>
            <a:lvl7pPr>
              <a:defRPr sz="4000">
                <a:solidFill>
                  <a:schemeClr val="accent1"/>
                </a:solidFill>
              </a:defRPr>
            </a:lvl7pPr>
            <a:lvl8pPr>
              <a:defRPr sz="4000">
                <a:solidFill>
                  <a:schemeClr val="accent1"/>
                </a:solidFill>
              </a:defRPr>
            </a:lvl8pPr>
            <a:lvl9pPr>
              <a:defRPr sz="4000">
                <a:solidFill>
                  <a:schemeClr val="accent1"/>
                </a:solidFill>
              </a:defRPr>
            </a:lvl9pPr>
          </a:lstStyle>
          <a:p>
            <a:pPr lvl="0"/>
            <a:r>
              <a:rPr lang="en-US"/>
              <a:t>Quote</a:t>
            </a:r>
          </a:p>
        </p:txBody>
      </p:sp>
      <p:sp>
        <p:nvSpPr>
          <p:cNvPr id="13" name="Freeform: Shape 12">
            <a:extLst>
              <a:ext uri="{FF2B5EF4-FFF2-40B4-BE49-F238E27FC236}">
                <a16:creationId xmlns:a16="http://schemas.microsoft.com/office/drawing/2014/main" id="{9E28FAB6-0552-450A-BABE-8D8E323CD905}"/>
              </a:ext>
            </a:extLst>
          </p:cNvPr>
          <p:cNvSpPr>
            <a:spLocks noChangeAspect="1"/>
          </p:cNvSpPr>
          <p:nvPr userDrawn="1"/>
        </p:nvSpPr>
        <p:spPr>
          <a:xfrm>
            <a:off x="6406213" y="1233203"/>
            <a:ext cx="653400" cy="435600"/>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Freeform: Shape 14">
            <a:extLst>
              <a:ext uri="{FF2B5EF4-FFF2-40B4-BE49-F238E27FC236}">
                <a16:creationId xmlns:a16="http://schemas.microsoft.com/office/drawing/2014/main" id="{75239746-0129-4117-B03D-3E983976AEFE}"/>
              </a:ext>
            </a:extLst>
          </p:cNvPr>
          <p:cNvSpPr>
            <a:spLocks noChangeAspect="1"/>
          </p:cNvSpPr>
          <p:nvPr userDrawn="1"/>
        </p:nvSpPr>
        <p:spPr>
          <a:xfrm rot="10800000">
            <a:off x="11104562" y="5275865"/>
            <a:ext cx="653400" cy="435600"/>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76651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Light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rgbClr val="898989"/>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rgbClr val="898989"/>
                </a:solidFill>
              </a:defRPr>
            </a:lvl1pPr>
          </a:lstStyle>
          <a:p>
            <a:fld id="{558C4CC7-2A35-421E-B553-155EEFD58513}" type="slidenum">
              <a:rPr lang="en-GB" smtClean="0"/>
              <a:pPr/>
              <a:t>‹#›</a:t>
            </a:fld>
            <a:endParaRPr lang="en-GB"/>
          </a:p>
        </p:txBody>
      </p:sp>
      <p:sp>
        <p:nvSpPr>
          <p:cNvPr id="7" name="Text Placeholder 5">
            <a:extLst>
              <a:ext uri="{FF2B5EF4-FFF2-40B4-BE49-F238E27FC236}">
                <a16:creationId xmlns:a16="http://schemas.microsoft.com/office/drawing/2014/main" id="{FFB28474-81D7-4FC5-83E9-03AA7E9A3284}"/>
              </a:ext>
            </a:extLst>
          </p:cNvPr>
          <p:cNvSpPr>
            <a:spLocks noGrp="1"/>
          </p:cNvSpPr>
          <p:nvPr>
            <p:ph type="body" sz="quarter" idx="12" hasCustomPrompt="1"/>
          </p:nvPr>
        </p:nvSpPr>
        <p:spPr>
          <a:xfrm>
            <a:off x="408496" y="453273"/>
            <a:ext cx="11375010" cy="1912855"/>
          </a:xfrm>
        </p:spPr>
        <p:txBody>
          <a:bodyPr anchor="ctr">
            <a:noAutofit/>
          </a:bodyPr>
          <a:lstStyle>
            <a:lvl1pPr algn="ctr">
              <a:defRPr sz="5400">
                <a:solidFill>
                  <a:schemeClr val="accent5"/>
                </a:solidFill>
                <a:latin typeface="+mn-lt"/>
              </a:defRPr>
            </a:lvl1pPr>
            <a:lvl2pPr marL="0" indent="0" algn="ctr">
              <a:buNone/>
              <a:defRPr sz="5400">
                <a:solidFill>
                  <a:schemeClr val="accent5"/>
                </a:solidFill>
                <a:latin typeface="+mn-lt"/>
              </a:defRPr>
            </a:lvl2pPr>
            <a:lvl3pPr marL="0" indent="0" algn="ctr">
              <a:buNone/>
              <a:defRPr sz="5400">
                <a:solidFill>
                  <a:schemeClr val="accent5"/>
                </a:solidFill>
                <a:latin typeface="+mn-lt"/>
              </a:defRPr>
            </a:lvl3pPr>
            <a:lvl4pPr marL="0" indent="0" algn="ctr">
              <a:buFont typeface="Arial" panose="020B0604020202020204" pitchFamily="34" charset="0"/>
              <a:buNone/>
              <a:defRPr sz="5400">
                <a:solidFill>
                  <a:schemeClr val="accent5"/>
                </a:solidFill>
                <a:latin typeface="+mn-lt"/>
              </a:defRPr>
            </a:lvl4pPr>
            <a:lvl5pPr marL="0" indent="0" algn="ctr">
              <a:buFont typeface="Arial" panose="020B0604020202020204" pitchFamily="34" charset="0"/>
              <a:buNone/>
              <a:defRPr sz="5400">
                <a:solidFill>
                  <a:schemeClr val="accent5"/>
                </a:solidFill>
                <a:latin typeface="+mn-lt"/>
              </a:defRPr>
            </a:lvl5pPr>
            <a:lvl6pPr marL="0" indent="0" algn="ctr">
              <a:buFont typeface="Arial" panose="020B0604020202020204" pitchFamily="34" charset="0"/>
              <a:buNone/>
              <a:defRPr sz="5400">
                <a:solidFill>
                  <a:schemeClr val="accent5"/>
                </a:solidFill>
                <a:latin typeface="+mn-lt"/>
              </a:defRPr>
            </a:lvl6pPr>
            <a:lvl7pPr marL="0" indent="0" algn="ctr">
              <a:buFont typeface="Arial" panose="020B0604020202020204" pitchFamily="34" charset="0"/>
              <a:buNone/>
              <a:defRPr sz="5400">
                <a:solidFill>
                  <a:schemeClr val="accent5"/>
                </a:solidFill>
                <a:latin typeface="+mn-lt"/>
              </a:defRPr>
            </a:lvl7pPr>
            <a:lvl8pPr marL="0" indent="0" algn="ctr">
              <a:buFont typeface="Arial" panose="020B0604020202020204" pitchFamily="34" charset="0"/>
              <a:buNone/>
              <a:defRPr sz="5400">
                <a:solidFill>
                  <a:schemeClr val="accent5"/>
                </a:solidFill>
                <a:latin typeface="+mn-lt"/>
              </a:defRPr>
            </a:lvl8pPr>
            <a:lvl9pPr marL="0" indent="0" algn="ctr">
              <a:buFont typeface="Arial" panose="020B0604020202020204" pitchFamily="34" charset="0"/>
              <a:buNone/>
              <a:defRPr sz="5400">
                <a:solidFill>
                  <a:schemeClr val="accent5"/>
                </a:solidFill>
                <a:latin typeface="+mn-lt"/>
              </a:defRPr>
            </a:lvl9pPr>
          </a:lstStyle>
          <a:p>
            <a:pPr lvl="0"/>
            <a:r>
              <a:rPr lang="en-US"/>
              <a:t>Highlight word</a:t>
            </a:r>
          </a:p>
        </p:txBody>
      </p:sp>
    </p:spTree>
    <p:extLst>
      <p:ext uri="{BB962C8B-B14F-4D97-AF65-F5344CB8AC3E}">
        <p14:creationId xmlns:p14="http://schemas.microsoft.com/office/powerpoint/2010/main" val="151528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tatement Dark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chemeClr val="bg1"/>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chemeClr val="bg1"/>
                </a:solidFill>
              </a:defRPr>
            </a:lvl1pPr>
          </a:lstStyle>
          <a:p>
            <a:fld id="{558C4CC7-2A35-421E-B553-155EEFD58513}" type="slidenum">
              <a:rPr lang="en-GB" smtClean="0"/>
              <a:pPr/>
              <a:t>‹#›</a:t>
            </a:fld>
            <a:endParaRPr lang="en-GB"/>
          </a:p>
        </p:txBody>
      </p:sp>
      <p:pic>
        <p:nvPicPr>
          <p:cNvPr id="6" name="Graphic 5">
            <a:extLst>
              <a:ext uri="{FF2B5EF4-FFF2-40B4-BE49-F238E27FC236}">
                <a16:creationId xmlns:a16="http://schemas.microsoft.com/office/drawing/2014/main" id="{FE1DD76F-EFC7-4BE3-A71F-AB502CCCE69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07704" y="6279226"/>
            <a:ext cx="404871" cy="169200"/>
          </a:xfrm>
          <a:prstGeom prst="rect">
            <a:avLst/>
          </a:prstGeom>
        </p:spPr>
      </p:pic>
      <p:sp>
        <p:nvSpPr>
          <p:cNvPr id="7" name="Text Placeholder 5">
            <a:extLst>
              <a:ext uri="{FF2B5EF4-FFF2-40B4-BE49-F238E27FC236}">
                <a16:creationId xmlns:a16="http://schemas.microsoft.com/office/drawing/2014/main" id="{E85C114C-257D-4091-8BFC-0D8CA27396D5}"/>
              </a:ext>
            </a:extLst>
          </p:cNvPr>
          <p:cNvSpPr>
            <a:spLocks noGrp="1"/>
          </p:cNvSpPr>
          <p:nvPr>
            <p:ph type="body" sz="quarter" idx="12" hasCustomPrompt="1"/>
          </p:nvPr>
        </p:nvSpPr>
        <p:spPr>
          <a:xfrm>
            <a:off x="408496" y="453273"/>
            <a:ext cx="11375010" cy="1912855"/>
          </a:xfrm>
        </p:spPr>
        <p:txBody>
          <a:bodyPr anchor="ctr">
            <a:noAutofit/>
          </a:bodyPr>
          <a:lstStyle>
            <a:lvl1pPr algn="ctr">
              <a:defRPr sz="5400">
                <a:solidFill>
                  <a:schemeClr val="bg1"/>
                </a:solidFill>
                <a:latin typeface="+mn-lt"/>
              </a:defRPr>
            </a:lvl1pPr>
            <a:lvl2pPr marL="0" indent="0" algn="ctr">
              <a:buNone/>
              <a:defRPr sz="5400">
                <a:solidFill>
                  <a:schemeClr val="bg1"/>
                </a:solidFill>
                <a:latin typeface="+mn-lt"/>
              </a:defRPr>
            </a:lvl2pPr>
            <a:lvl3pPr marL="0" indent="0" algn="ctr">
              <a:buNone/>
              <a:defRPr sz="5400">
                <a:solidFill>
                  <a:schemeClr val="bg1"/>
                </a:solidFill>
                <a:latin typeface="+mn-lt"/>
              </a:defRPr>
            </a:lvl3pPr>
            <a:lvl4pPr marL="0" indent="0" algn="ctr">
              <a:buFont typeface="Arial" panose="020B0604020202020204" pitchFamily="34" charset="0"/>
              <a:buNone/>
              <a:defRPr sz="5400">
                <a:solidFill>
                  <a:schemeClr val="bg1"/>
                </a:solidFill>
                <a:latin typeface="+mn-lt"/>
              </a:defRPr>
            </a:lvl4pPr>
            <a:lvl5pPr marL="0" indent="0" algn="ctr">
              <a:buFont typeface="Arial" panose="020B0604020202020204" pitchFamily="34" charset="0"/>
              <a:buNone/>
              <a:defRPr sz="5400">
                <a:solidFill>
                  <a:schemeClr val="bg1"/>
                </a:solidFill>
                <a:latin typeface="+mn-lt"/>
              </a:defRPr>
            </a:lvl5pPr>
            <a:lvl6pPr marL="0" indent="0" algn="ctr">
              <a:buFont typeface="Arial" panose="020B0604020202020204" pitchFamily="34" charset="0"/>
              <a:buNone/>
              <a:defRPr sz="5400">
                <a:solidFill>
                  <a:schemeClr val="bg1"/>
                </a:solidFill>
                <a:latin typeface="+mn-lt"/>
              </a:defRPr>
            </a:lvl6pPr>
            <a:lvl7pPr marL="0" indent="0" algn="ctr">
              <a:buFont typeface="Arial" panose="020B0604020202020204" pitchFamily="34" charset="0"/>
              <a:buNone/>
              <a:defRPr sz="5400">
                <a:solidFill>
                  <a:schemeClr val="bg1"/>
                </a:solidFill>
                <a:latin typeface="+mn-lt"/>
              </a:defRPr>
            </a:lvl7pPr>
            <a:lvl8pPr marL="0" indent="0" algn="ctr">
              <a:buFont typeface="Arial" panose="020B0604020202020204" pitchFamily="34" charset="0"/>
              <a:buNone/>
              <a:defRPr sz="5400">
                <a:solidFill>
                  <a:schemeClr val="bg1"/>
                </a:solidFill>
                <a:latin typeface="+mn-lt"/>
              </a:defRPr>
            </a:lvl8pPr>
            <a:lvl9pPr marL="0" indent="0" algn="ctr">
              <a:buFont typeface="Arial" panose="020B0604020202020204" pitchFamily="34" charset="0"/>
              <a:buNone/>
              <a:defRPr sz="5400">
                <a:solidFill>
                  <a:schemeClr val="bg1"/>
                </a:solidFill>
                <a:latin typeface="+mn-lt"/>
              </a:defRPr>
            </a:lvl9pPr>
          </a:lstStyle>
          <a:p>
            <a:pPr lvl="0"/>
            <a:r>
              <a:rPr lang="en-US"/>
              <a:t>Highlight word</a:t>
            </a:r>
          </a:p>
        </p:txBody>
      </p:sp>
    </p:spTree>
    <p:extLst>
      <p:ext uri="{BB962C8B-B14F-4D97-AF65-F5344CB8AC3E}">
        <p14:creationId xmlns:p14="http://schemas.microsoft.com/office/powerpoint/2010/main" val="2519350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ight Text and Image Grid">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4475160"/>
          </a:xfrm>
        </p:spPr>
        <p:txBody>
          <a:bodyPr/>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2CF63F65-1CE4-4A0B-AE0A-F609A1D139C8}"/>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Font typeface="Arial" panose="020B0604020202020204" pitchFamily="34" charset="0"/>
              <a:buNone/>
              <a:defRPr sz="2400">
                <a:solidFill>
                  <a:schemeClr val="bg1"/>
                </a:solidFill>
              </a:defRPr>
            </a:lvl4pPr>
            <a:lvl5pPr marL="0" indent="0">
              <a:buFont typeface="Arial" panose="020B0604020202020204" pitchFamily="34" charset="0"/>
              <a:buNone/>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US"/>
              <a:t>Call out phrase or concluding sentence to go here</a:t>
            </a:r>
          </a:p>
          <a:p>
            <a:pPr lvl="1"/>
            <a:endParaRPr lang="en-US"/>
          </a:p>
        </p:txBody>
      </p:sp>
      <p:pic>
        <p:nvPicPr>
          <p:cNvPr id="12" name="Graphic 11">
            <a:extLst>
              <a:ext uri="{FF2B5EF4-FFF2-40B4-BE49-F238E27FC236}">
                <a16:creationId xmlns:a16="http://schemas.microsoft.com/office/drawing/2014/main" id="{2ACF0520-5B0C-45CE-BC6E-AB7D588E5D4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293729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rk Text and Image Grid">
    <p:bg>
      <p:bgPr>
        <a:solidFill>
          <a:schemeClr val="accent6"/>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4475160"/>
          </a:xfrm>
        </p:spPr>
        <p:txBody>
          <a:bodyPr/>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2CF63F65-1CE4-4A0B-AE0A-F609A1D139C8}"/>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tx1"/>
                </a:solidFill>
              </a:defRPr>
            </a:lvl1pPr>
            <a:lvl2pPr marL="0" indent="0">
              <a:buNone/>
              <a:defRPr sz="2400">
                <a:solidFill>
                  <a:schemeClr val="tx1"/>
                </a:solidFill>
              </a:defRPr>
            </a:lvl2pPr>
            <a:lvl3pPr marL="0" indent="0">
              <a:buNone/>
              <a:defRPr sz="2400">
                <a:solidFill>
                  <a:schemeClr val="tx1"/>
                </a:solidFill>
              </a:defRPr>
            </a:lvl3pPr>
            <a:lvl4pPr marL="0" indent="0">
              <a:buFont typeface="Arial" panose="020B0604020202020204" pitchFamily="34" charset="0"/>
              <a:buNone/>
              <a:defRPr sz="2400">
                <a:solidFill>
                  <a:schemeClr val="tx1"/>
                </a:solidFill>
              </a:defRPr>
            </a:lvl4pPr>
            <a:lvl5pPr marL="0" indent="0">
              <a:buFont typeface="Arial" panose="020B0604020202020204" pitchFamily="34" charset="0"/>
              <a:buNone/>
              <a:defRPr sz="2400">
                <a:solidFill>
                  <a:schemeClr val="tx1"/>
                </a:solidFill>
              </a:defRPr>
            </a:lvl5pPr>
            <a:lvl6pPr>
              <a:defRPr sz="2400">
                <a:solidFill>
                  <a:schemeClr val="tx1"/>
                </a:solidFill>
              </a:defRPr>
            </a:lvl6pPr>
            <a:lvl7pPr>
              <a:defRPr sz="2400">
                <a:solidFill>
                  <a:schemeClr val="tx1"/>
                </a:solidFill>
              </a:defRPr>
            </a:lvl7pPr>
            <a:lvl8pPr>
              <a:defRPr sz="2400">
                <a:solidFill>
                  <a:schemeClr val="tx1"/>
                </a:solidFill>
              </a:defRPr>
            </a:lvl8pPr>
            <a:lvl9pPr>
              <a:defRPr sz="2400">
                <a:solidFill>
                  <a:schemeClr val="tx1"/>
                </a:solidFill>
              </a:defRPr>
            </a:lvl9pPr>
          </a:lstStyle>
          <a:p>
            <a:pPr lvl="0"/>
            <a:r>
              <a:rPr lang="en-US"/>
              <a:t>Call out phrase or concluding sentence to go here</a:t>
            </a:r>
          </a:p>
        </p:txBody>
      </p:sp>
    </p:spTree>
    <p:extLst>
      <p:ext uri="{BB962C8B-B14F-4D97-AF65-F5344CB8AC3E}">
        <p14:creationId xmlns:p14="http://schemas.microsoft.com/office/powerpoint/2010/main" val="37683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ark Text and Image Grid 2">
    <p:bg>
      <p:bgPr>
        <a:solidFill>
          <a:schemeClr val="accent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4475160"/>
          </a:xfrm>
        </p:spPr>
        <p:txBody>
          <a:bodyPr/>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2CF63F65-1CE4-4A0B-AE0A-F609A1D139C8}"/>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accent5"/>
                </a:solidFill>
              </a:defRPr>
            </a:lvl1pPr>
            <a:lvl2pPr marL="0" indent="0">
              <a:buNone/>
              <a:defRPr sz="2400">
                <a:solidFill>
                  <a:schemeClr val="accent5"/>
                </a:solidFill>
              </a:defRPr>
            </a:lvl2pPr>
            <a:lvl3pPr marL="0" indent="0">
              <a:buNone/>
              <a:defRPr sz="2400">
                <a:solidFill>
                  <a:schemeClr val="accent5"/>
                </a:solidFill>
              </a:defRPr>
            </a:lvl3pPr>
            <a:lvl4pPr marL="0" indent="0">
              <a:buFont typeface="Arial" panose="020B0604020202020204" pitchFamily="34" charset="0"/>
              <a:buNone/>
              <a:defRPr sz="2400">
                <a:solidFill>
                  <a:schemeClr val="accent5"/>
                </a:solidFill>
              </a:defRPr>
            </a:lvl4pPr>
            <a:lvl5pPr marL="0" indent="0">
              <a:buFont typeface="Arial" panose="020B0604020202020204" pitchFamily="34" charset="0"/>
              <a:buNone/>
              <a:defRPr sz="2400">
                <a:solidFill>
                  <a:schemeClr val="accent5"/>
                </a:solidFill>
              </a:defRPr>
            </a:lvl5pPr>
            <a:lvl6pPr>
              <a:defRPr sz="2400">
                <a:solidFill>
                  <a:schemeClr val="accent5"/>
                </a:solidFill>
              </a:defRPr>
            </a:lvl6pPr>
            <a:lvl7pPr>
              <a:defRPr sz="2400">
                <a:solidFill>
                  <a:schemeClr val="accent5"/>
                </a:solidFill>
              </a:defRPr>
            </a:lvl7pPr>
            <a:lvl8pPr>
              <a:defRPr sz="2400">
                <a:solidFill>
                  <a:schemeClr val="accent5"/>
                </a:solidFill>
              </a:defRPr>
            </a:lvl8pPr>
            <a:lvl9pPr>
              <a:defRPr sz="2400">
                <a:solidFill>
                  <a:schemeClr val="accent5"/>
                </a:solidFill>
              </a:defRPr>
            </a:lvl9pPr>
          </a:lstStyle>
          <a:p>
            <a:pPr lvl="0"/>
            <a:r>
              <a:rPr lang="en-US"/>
              <a:t>Call out phrase or concluding sentence to go here</a:t>
            </a:r>
          </a:p>
        </p:txBody>
      </p:sp>
      <p:pic>
        <p:nvPicPr>
          <p:cNvPr id="12" name="Graphic 11">
            <a:extLst>
              <a:ext uri="{FF2B5EF4-FFF2-40B4-BE49-F238E27FC236}">
                <a16:creationId xmlns:a16="http://schemas.microsoft.com/office/drawing/2014/main" id="{5EAFE05C-83A1-4393-B538-A6B315FB7C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349756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ight Text Charts and Image Grid">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Graphic BG Light Grey">
            <a:extLst>
              <a:ext uri="{FF2B5EF4-FFF2-40B4-BE49-F238E27FC236}">
                <a16:creationId xmlns:a16="http://schemas.microsoft.com/office/drawing/2014/main" id="{EEDED938-4D0D-4D13-B596-38A1B362A207}"/>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2458292D-CCDB-4282-B1ED-6265D5D5EED0}"/>
              </a:ext>
            </a:extLst>
          </p:cNvPr>
          <p:cNvSpPr>
            <a:spLocks noGrp="1"/>
          </p:cNvSpPr>
          <p:nvPr>
            <p:ph type="chart" sz="quarter" idx="17"/>
          </p:nvPr>
        </p:nvSpPr>
        <p:spPr>
          <a:xfrm>
            <a:off x="407988" y="3688550"/>
            <a:ext cx="2455200" cy="2084400"/>
          </a:xfrm>
        </p:spPr>
        <p:txBody>
          <a:bodyPr anchor="ctr">
            <a:normAutofit/>
          </a:bodyPr>
          <a:lstStyle>
            <a:lvl1pPr algn="ctr">
              <a:defRPr sz="1400"/>
            </a:lvl1pPr>
          </a:lstStyle>
          <a:p>
            <a:endParaRPr lang="en-GB"/>
          </a:p>
        </p:txBody>
      </p:sp>
      <p:sp>
        <p:nvSpPr>
          <p:cNvPr id="14" name="Chart Placeholder 12">
            <a:extLst>
              <a:ext uri="{FF2B5EF4-FFF2-40B4-BE49-F238E27FC236}">
                <a16:creationId xmlns:a16="http://schemas.microsoft.com/office/drawing/2014/main" id="{7946E977-5E7C-4221-A6E5-847061E99F3C}"/>
              </a:ext>
            </a:extLst>
          </p:cNvPr>
          <p:cNvSpPr>
            <a:spLocks noGrp="1"/>
          </p:cNvSpPr>
          <p:nvPr>
            <p:ph type="chart" sz="quarter" idx="18"/>
          </p:nvPr>
        </p:nvSpPr>
        <p:spPr>
          <a:xfrm>
            <a:off x="3252788" y="3688550"/>
            <a:ext cx="2455200" cy="2084400"/>
          </a:xfrm>
        </p:spPr>
        <p:txBody>
          <a:bodyPr anchor="ctr">
            <a:normAutofit/>
          </a:bodyPr>
          <a:lstStyle>
            <a:lvl1pPr algn="ctr">
              <a:defRPr sz="1400"/>
            </a:lvl1pPr>
          </a:lstStyle>
          <a:p>
            <a:endParaRPr lang="en-GB"/>
          </a:p>
        </p:txBody>
      </p:sp>
      <p:sp>
        <p:nvSpPr>
          <p:cNvPr id="18" name="Text Placeholder 2">
            <a:extLst>
              <a:ext uri="{FF2B5EF4-FFF2-40B4-BE49-F238E27FC236}">
                <a16:creationId xmlns:a16="http://schemas.microsoft.com/office/drawing/2014/main" id="{5458B801-2F11-4CF9-B41D-2F7EC52B2762}"/>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Font typeface="Arial" panose="020B0604020202020204" pitchFamily="34" charset="0"/>
              <a:buNone/>
              <a:defRPr sz="2400">
                <a:solidFill>
                  <a:schemeClr val="bg1"/>
                </a:solidFill>
              </a:defRPr>
            </a:lvl4pPr>
            <a:lvl5pPr marL="0" indent="0">
              <a:buFont typeface="Arial" panose="020B0604020202020204" pitchFamily="34" charset="0"/>
              <a:buNone/>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US"/>
              <a:t>Call out phrase or concluding sentence to go here</a:t>
            </a:r>
          </a:p>
        </p:txBody>
      </p:sp>
      <p:pic>
        <p:nvPicPr>
          <p:cNvPr id="16" name="Graphic 15">
            <a:extLst>
              <a:ext uri="{FF2B5EF4-FFF2-40B4-BE49-F238E27FC236}">
                <a16:creationId xmlns:a16="http://schemas.microsoft.com/office/drawing/2014/main" id="{FEDF06A7-B79B-433E-9D56-494CCC487CC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47271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rk Text Charts and Image Grid">
    <p:bg>
      <p:bgPr>
        <a:solidFill>
          <a:schemeClr val="accent6"/>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Graphic BG Light Grey">
            <a:extLst>
              <a:ext uri="{FF2B5EF4-FFF2-40B4-BE49-F238E27FC236}">
                <a16:creationId xmlns:a16="http://schemas.microsoft.com/office/drawing/2014/main" id="{EEDED938-4D0D-4D13-B596-38A1B362A207}"/>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2458292D-CCDB-4282-B1ED-6265D5D5EED0}"/>
              </a:ext>
            </a:extLst>
          </p:cNvPr>
          <p:cNvSpPr>
            <a:spLocks noGrp="1"/>
          </p:cNvSpPr>
          <p:nvPr>
            <p:ph type="chart" sz="quarter" idx="17"/>
          </p:nvPr>
        </p:nvSpPr>
        <p:spPr>
          <a:xfrm>
            <a:off x="407988" y="3688550"/>
            <a:ext cx="2455200" cy="2084400"/>
          </a:xfrm>
        </p:spPr>
        <p:txBody>
          <a:bodyPr anchor="ctr">
            <a:normAutofit/>
          </a:bodyPr>
          <a:lstStyle>
            <a:lvl1pPr algn="ctr">
              <a:defRPr sz="1400"/>
            </a:lvl1pPr>
          </a:lstStyle>
          <a:p>
            <a:endParaRPr lang="en-GB"/>
          </a:p>
        </p:txBody>
      </p:sp>
      <p:sp>
        <p:nvSpPr>
          <p:cNvPr id="14" name="Chart Placeholder 12">
            <a:extLst>
              <a:ext uri="{FF2B5EF4-FFF2-40B4-BE49-F238E27FC236}">
                <a16:creationId xmlns:a16="http://schemas.microsoft.com/office/drawing/2014/main" id="{7946E977-5E7C-4221-A6E5-847061E99F3C}"/>
              </a:ext>
            </a:extLst>
          </p:cNvPr>
          <p:cNvSpPr>
            <a:spLocks noGrp="1"/>
          </p:cNvSpPr>
          <p:nvPr>
            <p:ph type="chart" sz="quarter" idx="18"/>
          </p:nvPr>
        </p:nvSpPr>
        <p:spPr>
          <a:xfrm>
            <a:off x="3252788" y="3688550"/>
            <a:ext cx="2455200" cy="2084400"/>
          </a:xfrm>
        </p:spPr>
        <p:txBody>
          <a:bodyPr anchor="ctr">
            <a:normAutofit/>
          </a:bodyPr>
          <a:lstStyle>
            <a:lvl1pPr algn="ctr">
              <a:defRPr sz="1400"/>
            </a:lvl1pPr>
          </a:lstStyle>
          <a:p>
            <a:endParaRPr lang="en-GB"/>
          </a:p>
        </p:txBody>
      </p:sp>
      <p:sp>
        <p:nvSpPr>
          <p:cNvPr id="17" name="Text Placeholder 2">
            <a:extLst>
              <a:ext uri="{FF2B5EF4-FFF2-40B4-BE49-F238E27FC236}">
                <a16:creationId xmlns:a16="http://schemas.microsoft.com/office/drawing/2014/main" id="{86645DDE-B213-436F-BC66-D7164FB6ACB1}"/>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tx1"/>
                </a:solidFill>
              </a:defRPr>
            </a:lvl1pPr>
            <a:lvl2pPr marL="0" indent="0">
              <a:buNone/>
              <a:defRPr sz="2400">
                <a:solidFill>
                  <a:schemeClr val="tx1"/>
                </a:solidFill>
              </a:defRPr>
            </a:lvl2pPr>
            <a:lvl3pPr marL="0" indent="0">
              <a:buNone/>
              <a:defRPr sz="2400">
                <a:solidFill>
                  <a:schemeClr val="tx1"/>
                </a:solidFill>
              </a:defRPr>
            </a:lvl3pPr>
            <a:lvl4pPr marL="0" indent="0">
              <a:buFont typeface="Arial" panose="020B0604020202020204" pitchFamily="34" charset="0"/>
              <a:buNone/>
              <a:defRPr sz="2400">
                <a:solidFill>
                  <a:schemeClr val="tx1"/>
                </a:solidFill>
              </a:defRPr>
            </a:lvl4pPr>
            <a:lvl5pPr marL="0" indent="0">
              <a:buFont typeface="Arial" panose="020B0604020202020204" pitchFamily="34" charset="0"/>
              <a:buNone/>
              <a:defRPr sz="2400">
                <a:solidFill>
                  <a:schemeClr val="tx1"/>
                </a:solidFill>
              </a:defRPr>
            </a:lvl5pPr>
            <a:lvl6pPr>
              <a:defRPr sz="2400">
                <a:solidFill>
                  <a:schemeClr val="tx1"/>
                </a:solidFill>
              </a:defRPr>
            </a:lvl6pPr>
            <a:lvl7pPr>
              <a:defRPr sz="2400">
                <a:solidFill>
                  <a:schemeClr val="tx1"/>
                </a:solidFill>
              </a:defRPr>
            </a:lvl7pPr>
            <a:lvl8pPr>
              <a:defRPr sz="2400">
                <a:solidFill>
                  <a:schemeClr val="tx1"/>
                </a:solidFill>
              </a:defRPr>
            </a:lvl8pPr>
            <a:lvl9pPr>
              <a:defRPr sz="2400">
                <a:solidFill>
                  <a:schemeClr val="tx1"/>
                </a:solidFill>
              </a:defRPr>
            </a:lvl9pPr>
          </a:lstStyle>
          <a:p>
            <a:pPr lvl="0"/>
            <a:r>
              <a:rPr lang="en-US"/>
              <a:t>Call out phrase or concluding sentence to go here</a:t>
            </a:r>
          </a:p>
        </p:txBody>
      </p:sp>
    </p:spTree>
    <p:extLst>
      <p:ext uri="{BB962C8B-B14F-4D97-AF65-F5344CB8AC3E}">
        <p14:creationId xmlns:p14="http://schemas.microsoft.com/office/powerpoint/2010/main" val="415931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hite Title Dark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421851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Picture Placeholder 63">
            <a:extLst>
              <a:ext uri="{FF2B5EF4-FFF2-40B4-BE49-F238E27FC236}">
                <a16:creationId xmlns:a16="http://schemas.microsoft.com/office/drawing/2014/main" id="{C9DC8A7E-499F-4885-8EE0-C603F4AAA6A2}"/>
              </a:ext>
            </a:extLst>
          </p:cNvPr>
          <p:cNvSpPr>
            <a:spLocks noGrp="1"/>
          </p:cNvSpPr>
          <p:nvPr>
            <p:ph type="pic" sz="quarter" idx="14" hasCustomPrompt="1"/>
          </p:nvPr>
        </p:nvSpPr>
        <p:spPr>
          <a:xfrm>
            <a:off x="6096000" y="6"/>
            <a:ext cx="6096000" cy="6857994"/>
          </a:xfrm>
          <a:custGeom>
            <a:avLst/>
            <a:gdLst>
              <a:gd name="connsiteX0" fmla="*/ 5356504 w 6096000"/>
              <a:gd name="connsiteY0" fmla="*/ 1193834 h 6857994"/>
              <a:gd name="connsiteX1" fmla="*/ 5316102 w 6096000"/>
              <a:gd name="connsiteY1" fmla="*/ 1248052 h 6857994"/>
              <a:gd name="connsiteX2" fmla="*/ 5356411 w 6096000"/>
              <a:gd name="connsiteY2" fmla="*/ 1321469 h 6857994"/>
              <a:gd name="connsiteX3" fmla="*/ 5396766 w 6096000"/>
              <a:gd name="connsiteY3" fmla="*/ 1248052 h 6857994"/>
              <a:gd name="connsiteX4" fmla="*/ 5356504 w 6096000"/>
              <a:gd name="connsiteY4" fmla="*/ 1193834 h 6857994"/>
              <a:gd name="connsiteX5" fmla="*/ 5427592 w 6096000"/>
              <a:gd name="connsiteY5" fmla="*/ 1181415 h 6857994"/>
              <a:gd name="connsiteX6" fmla="*/ 5408416 w 6096000"/>
              <a:gd name="connsiteY6" fmla="*/ 1246047 h 6857994"/>
              <a:gd name="connsiteX7" fmla="*/ 5471325 w 6096000"/>
              <a:gd name="connsiteY7" fmla="*/ 1301291 h 6857994"/>
              <a:gd name="connsiteX8" fmla="*/ 5483977 w 6096000"/>
              <a:gd name="connsiteY8" fmla="*/ 1218485 h 6857994"/>
              <a:gd name="connsiteX9" fmla="*/ 5427592 w 6096000"/>
              <a:gd name="connsiteY9" fmla="*/ 1181415 h 6857994"/>
              <a:gd name="connsiteX10" fmla="*/ 5285440 w 6096000"/>
              <a:gd name="connsiteY10" fmla="*/ 1181413 h 6857994"/>
              <a:gd name="connsiteX11" fmla="*/ 5229008 w 6096000"/>
              <a:gd name="connsiteY11" fmla="*/ 1218483 h 6857994"/>
              <a:gd name="connsiteX12" fmla="*/ 5241939 w 6096000"/>
              <a:gd name="connsiteY12" fmla="*/ 1301267 h 6857994"/>
              <a:gd name="connsiteX13" fmla="*/ 5304849 w 6096000"/>
              <a:gd name="connsiteY13" fmla="*/ 1246046 h 6857994"/>
              <a:gd name="connsiteX14" fmla="*/ 5285440 w 6096000"/>
              <a:gd name="connsiteY14" fmla="*/ 1181413 h 6857994"/>
              <a:gd name="connsiteX15" fmla="*/ 5490151 w 6096000"/>
              <a:gd name="connsiteY15" fmla="*/ 1145346 h 6857994"/>
              <a:gd name="connsiteX16" fmla="*/ 5494368 w 6096000"/>
              <a:gd name="connsiteY16" fmla="*/ 1197282 h 6857994"/>
              <a:gd name="connsiteX17" fmla="*/ 5493995 w 6096000"/>
              <a:gd name="connsiteY17" fmla="*/ 1212707 h 6857994"/>
              <a:gd name="connsiteX18" fmla="*/ 5572073 w 6096000"/>
              <a:gd name="connsiteY18" fmla="*/ 1242995 h 6857994"/>
              <a:gd name="connsiteX19" fmla="*/ 5555763 w 6096000"/>
              <a:gd name="connsiteY19" fmla="*/ 1160840 h 6857994"/>
              <a:gd name="connsiteX20" fmla="*/ 5490151 w 6096000"/>
              <a:gd name="connsiteY20" fmla="*/ 1145346 h 6857994"/>
              <a:gd name="connsiteX21" fmla="*/ 5222904 w 6096000"/>
              <a:gd name="connsiteY21" fmla="*/ 1145345 h 6857994"/>
              <a:gd name="connsiteX22" fmla="*/ 5157292 w 6096000"/>
              <a:gd name="connsiteY22" fmla="*/ 1160840 h 6857994"/>
              <a:gd name="connsiteX23" fmla="*/ 5140982 w 6096000"/>
              <a:gd name="connsiteY23" fmla="*/ 1242994 h 6857994"/>
              <a:gd name="connsiteX24" fmla="*/ 5219059 w 6096000"/>
              <a:gd name="connsiteY24" fmla="*/ 1212706 h 6857994"/>
              <a:gd name="connsiteX25" fmla="*/ 5218663 w 6096000"/>
              <a:gd name="connsiteY25" fmla="*/ 1197281 h 6857994"/>
              <a:gd name="connsiteX26" fmla="*/ 5222904 w 6096000"/>
              <a:gd name="connsiteY26" fmla="*/ 1145345 h 6857994"/>
              <a:gd name="connsiteX27" fmla="*/ 5382250 w 6096000"/>
              <a:gd name="connsiteY27" fmla="*/ 1132134 h 6857994"/>
              <a:gd name="connsiteX28" fmla="*/ 5362049 w 6096000"/>
              <a:gd name="connsiteY28" fmla="*/ 1184116 h 6857994"/>
              <a:gd name="connsiteX29" fmla="*/ 5400936 w 6096000"/>
              <a:gd name="connsiteY29" fmla="*/ 1237914 h 6857994"/>
              <a:gd name="connsiteX30" fmla="*/ 5419087 w 6096000"/>
              <a:gd name="connsiteY30" fmla="*/ 1174074 h 6857994"/>
              <a:gd name="connsiteX31" fmla="*/ 5382250 w 6096000"/>
              <a:gd name="connsiteY31" fmla="*/ 1132134 h 6857994"/>
              <a:gd name="connsiteX32" fmla="*/ 5330782 w 6096000"/>
              <a:gd name="connsiteY32" fmla="*/ 1132132 h 6857994"/>
              <a:gd name="connsiteX33" fmla="*/ 5293968 w 6096000"/>
              <a:gd name="connsiteY33" fmla="*/ 1174258 h 6857994"/>
              <a:gd name="connsiteX34" fmla="*/ 5312118 w 6096000"/>
              <a:gd name="connsiteY34" fmla="*/ 1238100 h 6857994"/>
              <a:gd name="connsiteX35" fmla="*/ 5351006 w 6096000"/>
              <a:gd name="connsiteY35" fmla="*/ 1184184 h 6857994"/>
              <a:gd name="connsiteX36" fmla="*/ 5330782 w 6096000"/>
              <a:gd name="connsiteY36" fmla="*/ 1132132 h 6857994"/>
              <a:gd name="connsiteX37" fmla="*/ 5430644 w 6096000"/>
              <a:gd name="connsiteY37" fmla="*/ 1114473 h 6857994"/>
              <a:gd name="connsiteX38" fmla="*/ 5431949 w 6096000"/>
              <a:gd name="connsiteY38" fmla="*/ 1136887 h 6857994"/>
              <a:gd name="connsiteX39" fmla="*/ 5429386 w 6096000"/>
              <a:gd name="connsiteY39" fmla="*/ 1170392 h 6857994"/>
              <a:gd name="connsiteX40" fmla="*/ 5484373 w 6096000"/>
              <a:gd name="connsiteY40" fmla="*/ 1207672 h 6857994"/>
              <a:gd name="connsiteX41" fmla="*/ 5484583 w 6096000"/>
              <a:gd name="connsiteY41" fmla="*/ 1197373 h 6857994"/>
              <a:gd name="connsiteX42" fmla="*/ 5479574 w 6096000"/>
              <a:gd name="connsiteY42" fmla="*/ 1141454 h 6857994"/>
              <a:gd name="connsiteX43" fmla="*/ 5430644 w 6096000"/>
              <a:gd name="connsiteY43" fmla="*/ 1114473 h 6857994"/>
              <a:gd name="connsiteX44" fmla="*/ 5282388 w 6096000"/>
              <a:gd name="connsiteY44" fmla="*/ 1114471 h 6857994"/>
              <a:gd name="connsiteX45" fmla="*/ 5233435 w 6096000"/>
              <a:gd name="connsiteY45" fmla="*/ 1141522 h 6857994"/>
              <a:gd name="connsiteX46" fmla="*/ 5228379 w 6096000"/>
              <a:gd name="connsiteY46" fmla="*/ 1197303 h 6857994"/>
              <a:gd name="connsiteX47" fmla="*/ 5228636 w 6096000"/>
              <a:gd name="connsiteY47" fmla="*/ 1207647 h 6857994"/>
              <a:gd name="connsiteX48" fmla="*/ 5283576 w 6096000"/>
              <a:gd name="connsiteY48" fmla="*/ 1170367 h 6857994"/>
              <a:gd name="connsiteX49" fmla="*/ 5281083 w 6096000"/>
              <a:gd name="connsiteY49" fmla="*/ 1136909 h 6857994"/>
              <a:gd name="connsiteX50" fmla="*/ 5282388 w 6096000"/>
              <a:gd name="connsiteY50" fmla="*/ 1114471 h 6857994"/>
              <a:gd name="connsiteX51" fmla="*/ 5603481 w 6096000"/>
              <a:gd name="connsiteY51" fmla="*/ 1082157 h 6857994"/>
              <a:gd name="connsiteX52" fmla="*/ 5536564 w 6096000"/>
              <a:gd name="connsiteY52" fmla="*/ 1090102 h 6857994"/>
              <a:gd name="connsiteX53" fmla="*/ 5563056 w 6096000"/>
              <a:gd name="connsiteY53" fmla="*/ 1152010 h 6857994"/>
              <a:gd name="connsiteX54" fmla="*/ 5646935 w 6096000"/>
              <a:gd name="connsiteY54" fmla="*/ 1153804 h 6857994"/>
              <a:gd name="connsiteX55" fmla="*/ 5603481 w 6096000"/>
              <a:gd name="connsiteY55" fmla="*/ 1082157 h 6857994"/>
              <a:gd name="connsiteX56" fmla="*/ 5109574 w 6096000"/>
              <a:gd name="connsiteY56" fmla="*/ 1082156 h 6857994"/>
              <a:gd name="connsiteX57" fmla="*/ 5066050 w 6096000"/>
              <a:gd name="connsiteY57" fmla="*/ 1153710 h 6857994"/>
              <a:gd name="connsiteX58" fmla="*/ 5149789 w 6096000"/>
              <a:gd name="connsiteY58" fmla="*/ 1151893 h 6857994"/>
              <a:gd name="connsiteX59" fmla="*/ 5176537 w 6096000"/>
              <a:gd name="connsiteY59" fmla="*/ 1090101 h 6857994"/>
              <a:gd name="connsiteX60" fmla="*/ 5109574 w 6096000"/>
              <a:gd name="connsiteY60" fmla="*/ 1082156 h 6857994"/>
              <a:gd name="connsiteX61" fmla="*/ 5470044 w 6096000"/>
              <a:gd name="connsiteY61" fmla="*/ 1081410 h 6857994"/>
              <a:gd name="connsiteX62" fmla="*/ 5488055 w 6096000"/>
              <a:gd name="connsiteY62" fmla="*/ 1134254 h 6857994"/>
              <a:gd name="connsiteX63" fmla="*/ 5552432 w 6096000"/>
              <a:gd name="connsiteY63" fmla="*/ 1150564 h 6857994"/>
              <a:gd name="connsiteX64" fmla="*/ 5525264 w 6096000"/>
              <a:gd name="connsiteY64" fmla="*/ 1089984 h 6857994"/>
              <a:gd name="connsiteX65" fmla="*/ 5470044 w 6096000"/>
              <a:gd name="connsiteY65" fmla="*/ 1081410 h 6857994"/>
              <a:gd name="connsiteX66" fmla="*/ 5242988 w 6096000"/>
              <a:gd name="connsiteY66" fmla="*/ 1081410 h 6857994"/>
              <a:gd name="connsiteX67" fmla="*/ 5187744 w 6096000"/>
              <a:gd name="connsiteY67" fmla="*/ 1090031 h 6857994"/>
              <a:gd name="connsiteX68" fmla="*/ 5160623 w 6096000"/>
              <a:gd name="connsiteY68" fmla="*/ 1150610 h 6857994"/>
              <a:gd name="connsiteX69" fmla="*/ 5224977 w 6096000"/>
              <a:gd name="connsiteY69" fmla="*/ 1134300 h 6857994"/>
              <a:gd name="connsiteX70" fmla="*/ 5242988 w 6096000"/>
              <a:gd name="connsiteY70" fmla="*/ 1081410 h 6857994"/>
              <a:gd name="connsiteX71" fmla="*/ 5356504 w 6096000"/>
              <a:gd name="connsiteY71" fmla="*/ 1076631 h 6857994"/>
              <a:gd name="connsiteX72" fmla="*/ 5338051 w 6096000"/>
              <a:gd name="connsiteY72" fmla="*/ 1120574 h 6857994"/>
              <a:gd name="connsiteX73" fmla="*/ 5356504 w 6096000"/>
              <a:gd name="connsiteY73" fmla="*/ 1173581 h 6857994"/>
              <a:gd name="connsiteX74" fmla="*/ 5374958 w 6096000"/>
              <a:gd name="connsiteY74" fmla="*/ 1120574 h 6857994"/>
              <a:gd name="connsiteX75" fmla="*/ 5356504 w 6096000"/>
              <a:gd name="connsiteY75" fmla="*/ 1076631 h 6857994"/>
              <a:gd name="connsiteX76" fmla="*/ 5387469 w 6096000"/>
              <a:gd name="connsiteY76" fmla="*/ 1071180 h 6857994"/>
              <a:gd name="connsiteX77" fmla="*/ 5388168 w 6096000"/>
              <a:gd name="connsiteY77" fmla="*/ 1085603 h 6857994"/>
              <a:gd name="connsiteX78" fmla="*/ 5385116 w 6096000"/>
              <a:gd name="connsiteY78" fmla="*/ 1118758 h 6857994"/>
              <a:gd name="connsiteX79" fmla="*/ 5420508 w 6096000"/>
              <a:gd name="connsiteY79" fmla="*/ 1162212 h 6857994"/>
              <a:gd name="connsiteX80" fmla="*/ 5422139 w 6096000"/>
              <a:gd name="connsiteY80" fmla="*/ 1136839 h 6857994"/>
              <a:gd name="connsiteX81" fmla="*/ 5419809 w 6096000"/>
              <a:gd name="connsiteY81" fmla="*/ 1106130 h 6857994"/>
              <a:gd name="connsiteX82" fmla="*/ 5387469 w 6096000"/>
              <a:gd name="connsiteY82" fmla="*/ 1071180 h 6857994"/>
              <a:gd name="connsiteX83" fmla="*/ 5325562 w 6096000"/>
              <a:gd name="connsiteY83" fmla="*/ 1071179 h 6857994"/>
              <a:gd name="connsiteX84" fmla="*/ 5293152 w 6096000"/>
              <a:gd name="connsiteY84" fmla="*/ 1106175 h 6857994"/>
              <a:gd name="connsiteX85" fmla="*/ 5290823 w 6096000"/>
              <a:gd name="connsiteY85" fmla="*/ 1136908 h 6857994"/>
              <a:gd name="connsiteX86" fmla="*/ 5292430 w 6096000"/>
              <a:gd name="connsiteY86" fmla="*/ 1162258 h 6857994"/>
              <a:gd name="connsiteX87" fmla="*/ 5327869 w 6096000"/>
              <a:gd name="connsiteY87" fmla="*/ 1118757 h 6857994"/>
              <a:gd name="connsiteX88" fmla="*/ 5324887 w 6096000"/>
              <a:gd name="connsiteY88" fmla="*/ 1085602 h 6857994"/>
              <a:gd name="connsiteX89" fmla="*/ 5325562 w 6096000"/>
              <a:gd name="connsiteY89" fmla="*/ 1071179 h 6857994"/>
              <a:gd name="connsiteX90" fmla="*/ 5414684 w 6096000"/>
              <a:gd name="connsiteY90" fmla="*/ 1055430 h 6857994"/>
              <a:gd name="connsiteX91" fmla="*/ 5428827 w 6096000"/>
              <a:gd name="connsiteY91" fmla="*/ 1101051 h 6857994"/>
              <a:gd name="connsiteX92" fmla="*/ 5477011 w 6096000"/>
              <a:gd name="connsiteY92" fmla="*/ 1129779 h 6857994"/>
              <a:gd name="connsiteX93" fmla="*/ 5457066 w 6096000"/>
              <a:gd name="connsiteY93" fmla="*/ 1077332 h 6857994"/>
              <a:gd name="connsiteX94" fmla="*/ 5414684 w 6096000"/>
              <a:gd name="connsiteY94" fmla="*/ 1055430 h 6857994"/>
              <a:gd name="connsiteX95" fmla="*/ 5298348 w 6096000"/>
              <a:gd name="connsiteY95" fmla="*/ 1055429 h 6857994"/>
              <a:gd name="connsiteX96" fmla="*/ 5255989 w 6096000"/>
              <a:gd name="connsiteY96" fmla="*/ 1077330 h 6857994"/>
              <a:gd name="connsiteX97" fmla="*/ 5235998 w 6096000"/>
              <a:gd name="connsiteY97" fmla="*/ 1129708 h 6857994"/>
              <a:gd name="connsiteX98" fmla="*/ 5284252 w 6096000"/>
              <a:gd name="connsiteY98" fmla="*/ 1100980 h 6857994"/>
              <a:gd name="connsiteX99" fmla="*/ 5298348 w 6096000"/>
              <a:gd name="connsiteY99" fmla="*/ 1055429 h 6857994"/>
              <a:gd name="connsiteX100" fmla="*/ 5278193 w 6096000"/>
              <a:gd name="connsiteY100" fmla="*/ 1031383 h 6857994"/>
              <a:gd name="connsiteX101" fmla="*/ 5230779 w 6096000"/>
              <a:gd name="connsiteY101" fmla="*/ 1037464 h 6857994"/>
              <a:gd name="connsiteX102" fmla="*/ 5194198 w 6096000"/>
              <a:gd name="connsiteY102" fmla="*/ 1079870 h 6857994"/>
              <a:gd name="connsiteX103" fmla="*/ 5249302 w 6096000"/>
              <a:gd name="connsiteY103" fmla="*/ 1069315 h 6857994"/>
              <a:gd name="connsiteX104" fmla="*/ 5278193 w 6096000"/>
              <a:gd name="connsiteY104" fmla="*/ 1031383 h 6857994"/>
              <a:gd name="connsiteX105" fmla="*/ 5434861 w 6096000"/>
              <a:gd name="connsiteY105" fmla="*/ 1031360 h 6857994"/>
              <a:gd name="connsiteX106" fmla="*/ 5463706 w 6096000"/>
              <a:gd name="connsiteY106" fmla="*/ 1069316 h 6857994"/>
              <a:gd name="connsiteX107" fmla="*/ 5518833 w 6096000"/>
              <a:gd name="connsiteY107" fmla="*/ 1079871 h 6857994"/>
              <a:gd name="connsiteX108" fmla="*/ 5482299 w 6096000"/>
              <a:gd name="connsiteY108" fmla="*/ 1037465 h 6857994"/>
              <a:gd name="connsiteX109" fmla="*/ 5434861 w 6096000"/>
              <a:gd name="connsiteY109" fmla="*/ 1031360 h 6857994"/>
              <a:gd name="connsiteX110" fmla="*/ 5550544 w 6096000"/>
              <a:gd name="connsiteY110" fmla="*/ 1026073 h 6857994"/>
              <a:gd name="connsiteX111" fmla="*/ 5495720 w 6096000"/>
              <a:gd name="connsiteY111" fmla="*/ 1036931 h 6857994"/>
              <a:gd name="connsiteX112" fmla="*/ 5530786 w 6096000"/>
              <a:gd name="connsiteY112" fmla="*/ 1080571 h 6857994"/>
              <a:gd name="connsiteX113" fmla="*/ 5596748 w 6096000"/>
              <a:gd name="connsiteY113" fmla="*/ 1073744 h 6857994"/>
              <a:gd name="connsiteX114" fmla="*/ 5550544 w 6096000"/>
              <a:gd name="connsiteY114" fmla="*/ 1026073 h 6857994"/>
              <a:gd name="connsiteX115" fmla="*/ 5162441 w 6096000"/>
              <a:gd name="connsiteY115" fmla="*/ 1026072 h 6857994"/>
              <a:gd name="connsiteX116" fmla="*/ 5116424 w 6096000"/>
              <a:gd name="connsiteY116" fmla="*/ 1073628 h 6857994"/>
              <a:gd name="connsiteX117" fmla="*/ 5182409 w 6096000"/>
              <a:gd name="connsiteY117" fmla="*/ 1080455 h 6857994"/>
              <a:gd name="connsiteX118" fmla="*/ 5217358 w 6096000"/>
              <a:gd name="connsiteY118" fmla="*/ 1036813 h 6857994"/>
              <a:gd name="connsiteX119" fmla="*/ 5162441 w 6096000"/>
              <a:gd name="connsiteY119" fmla="*/ 1026072 h 6857994"/>
              <a:gd name="connsiteX120" fmla="*/ 5621468 w 6096000"/>
              <a:gd name="connsiteY120" fmla="*/ 991893 h 6857994"/>
              <a:gd name="connsiteX121" fmla="*/ 5561192 w 6096000"/>
              <a:gd name="connsiteY121" fmla="*/ 1022229 h 6857994"/>
              <a:gd name="connsiteX122" fmla="*/ 5607489 w 6096000"/>
              <a:gd name="connsiteY122" fmla="*/ 1071323 h 6857994"/>
              <a:gd name="connsiteX123" fmla="*/ 5686708 w 6096000"/>
              <a:gd name="connsiteY123" fmla="*/ 1044364 h 6857994"/>
              <a:gd name="connsiteX124" fmla="*/ 5621468 w 6096000"/>
              <a:gd name="connsiteY124" fmla="*/ 991893 h 6857994"/>
              <a:gd name="connsiteX125" fmla="*/ 5091540 w 6096000"/>
              <a:gd name="connsiteY125" fmla="*/ 991893 h 6857994"/>
              <a:gd name="connsiteX126" fmla="*/ 5026301 w 6096000"/>
              <a:gd name="connsiteY126" fmla="*/ 1044364 h 6857994"/>
              <a:gd name="connsiteX127" fmla="*/ 5105520 w 6096000"/>
              <a:gd name="connsiteY127" fmla="*/ 1071323 h 6857994"/>
              <a:gd name="connsiteX128" fmla="*/ 5151840 w 6096000"/>
              <a:gd name="connsiteY128" fmla="*/ 1022183 h 6857994"/>
              <a:gd name="connsiteX129" fmla="*/ 5091540 w 6096000"/>
              <a:gd name="connsiteY129" fmla="*/ 991893 h 6857994"/>
              <a:gd name="connsiteX130" fmla="*/ 5492108 w 6096000"/>
              <a:gd name="connsiteY130" fmla="*/ 991284 h 6857994"/>
              <a:gd name="connsiteX131" fmla="*/ 5445695 w 6096000"/>
              <a:gd name="connsiteY131" fmla="*/ 1001885 h 6857994"/>
              <a:gd name="connsiteX132" fmla="*/ 5485677 w 6096000"/>
              <a:gd name="connsiteY132" fmla="*/ 1027655 h 6857994"/>
              <a:gd name="connsiteX133" fmla="*/ 5541037 w 6096000"/>
              <a:gd name="connsiteY133" fmla="*/ 1018708 h 6857994"/>
              <a:gd name="connsiteX134" fmla="*/ 5492108 w 6096000"/>
              <a:gd name="connsiteY134" fmla="*/ 991284 h 6857994"/>
              <a:gd name="connsiteX135" fmla="*/ 5220900 w 6096000"/>
              <a:gd name="connsiteY135" fmla="*/ 991284 h 6857994"/>
              <a:gd name="connsiteX136" fmla="*/ 5171947 w 6096000"/>
              <a:gd name="connsiteY136" fmla="*/ 1018615 h 6857994"/>
              <a:gd name="connsiteX137" fmla="*/ 5227330 w 6096000"/>
              <a:gd name="connsiteY137" fmla="*/ 1027562 h 6857994"/>
              <a:gd name="connsiteX138" fmla="*/ 5267336 w 6096000"/>
              <a:gd name="connsiteY138" fmla="*/ 1001932 h 6857994"/>
              <a:gd name="connsiteX139" fmla="*/ 5220900 w 6096000"/>
              <a:gd name="connsiteY139" fmla="*/ 991284 h 6857994"/>
              <a:gd name="connsiteX140" fmla="*/ 5160507 w 6096000"/>
              <a:gd name="connsiteY140" fmla="*/ 957199 h 6857994"/>
              <a:gd name="connsiteX141" fmla="*/ 5100860 w 6096000"/>
              <a:gd name="connsiteY141" fmla="*/ 986183 h 6857994"/>
              <a:gd name="connsiteX142" fmla="*/ 5160507 w 6096000"/>
              <a:gd name="connsiteY142" fmla="*/ 1015076 h 6857994"/>
              <a:gd name="connsiteX143" fmla="*/ 5208295 w 6096000"/>
              <a:gd name="connsiteY143" fmla="*/ 986183 h 6857994"/>
              <a:gd name="connsiteX144" fmla="*/ 5160507 w 6096000"/>
              <a:gd name="connsiteY144" fmla="*/ 957199 h 6857994"/>
              <a:gd name="connsiteX145" fmla="*/ 5552525 w 6096000"/>
              <a:gd name="connsiteY145" fmla="*/ 957198 h 6857994"/>
              <a:gd name="connsiteX146" fmla="*/ 5504714 w 6096000"/>
              <a:gd name="connsiteY146" fmla="*/ 986183 h 6857994"/>
              <a:gd name="connsiteX147" fmla="*/ 5552525 w 6096000"/>
              <a:gd name="connsiteY147" fmla="*/ 1015075 h 6857994"/>
              <a:gd name="connsiteX148" fmla="*/ 5612219 w 6096000"/>
              <a:gd name="connsiteY148" fmla="*/ 986136 h 6857994"/>
              <a:gd name="connsiteX149" fmla="*/ 5552525 w 6096000"/>
              <a:gd name="connsiteY149" fmla="*/ 957198 h 6857994"/>
              <a:gd name="connsiteX150" fmla="*/ 5227330 w 6096000"/>
              <a:gd name="connsiteY150" fmla="*/ 944522 h 6857994"/>
              <a:gd name="connsiteX151" fmla="*/ 5171970 w 6096000"/>
              <a:gd name="connsiteY151" fmla="*/ 953492 h 6857994"/>
              <a:gd name="connsiteX152" fmla="*/ 5220899 w 6096000"/>
              <a:gd name="connsiteY152" fmla="*/ 980870 h 6857994"/>
              <a:gd name="connsiteX153" fmla="*/ 5267289 w 6096000"/>
              <a:gd name="connsiteY153" fmla="*/ 970268 h 6857994"/>
              <a:gd name="connsiteX154" fmla="*/ 5227330 w 6096000"/>
              <a:gd name="connsiteY154" fmla="*/ 944522 h 6857994"/>
              <a:gd name="connsiteX155" fmla="*/ 5485724 w 6096000"/>
              <a:gd name="connsiteY155" fmla="*/ 944522 h 6857994"/>
              <a:gd name="connsiteX156" fmla="*/ 5445695 w 6096000"/>
              <a:gd name="connsiteY156" fmla="*/ 970361 h 6857994"/>
              <a:gd name="connsiteX157" fmla="*/ 5492155 w 6096000"/>
              <a:gd name="connsiteY157" fmla="*/ 980870 h 6857994"/>
              <a:gd name="connsiteX158" fmla="*/ 5541084 w 6096000"/>
              <a:gd name="connsiteY158" fmla="*/ 953492 h 6857994"/>
              <a:gd name="connsiteX159" fmla="*/ 5485724 w 6096000"/>
              <a:gd name="connsiteY159" fmla="*/ 944522 h 6857994"/>
              <a:gd name="connsiteX160" fmla="*/ 5105520 w 6096000"/>
              <a:gd name="connsiteY160" fmla="*/ 900931 h 6857994"/>
              <a:gd name="connsiteX161" fmla="*/ 5026301 w 6096000"/>
              <a:gd name="connsiteY161" fmla="*/ 927889 h 6857994"/>
              <a:gd name="connsiteX162" fmla="*/ 5091587 w 6096000"/>
              <a:gd name="connsiteY162" fmla="*/ 980360 h 6857994"/>
              <a:gd name="connsiteX163" fmla="*/ 5151886 w 6096000"/>
              <a:gd name="connsiteY163" fmla="*/ 950070 h 6857994"/>
              <a:gd name="connsiteX164" fmla="*/ 5105520 w 6096000"/>
              <a:gd name="connsiteY164" fmla="*/ 900931 h 6857994"/>
              <a:gd name="connsiteX165" fmla="*/ 5607418 w 6096000"/>
              <a:gd name="connsiteY165" fmla="*/ 900908 h 6857994"/>
              <a:gd name="connsiteX166" fmla="*/ 5561052 w 6096000"/>
              <a:gd name="connsiteY166" fmla="*/ 950094 h 6857994"/>
              <a:gd name="connsiteX167" fmla="*/ 5621398 w 6096000"/>
              <a:gd name="connsiteY167" fmla="*/ 980383 h 6857994"/>
              <a:gd name="connsiteX168" fmla="*/ 5686638 w 6096000"/>
              <a:gd name="connsiteY168" fmla="*/ 927889 h 6857994"/>
              <a:gd name="connsiteX169" fmla="*/ 5607418 w 6096000"/>
              <a:gd name="connsiteY169" fmla="*/ 900908 h 6857994"/>
              <a:gd name="connsiteX170" fmla="*/ 5194198 w 6096000"/>
              <a:gd name="connsiteY170" fmla="*/ 892424 h 6857994"/>
              <a:gd name="connsiteX171" fmla="*/ 5230779 w 6096000"/>
              <a:gd name="connsiteY171" fmla="*/ 934806 h 6857994"/>
              <a:gd name="connsiteX172" fmla="*/ 5278147 w 6096000"/>
              <a:gd name="connsiteY172" fmla="*/ 940911 h 6857994"/>
              <a:gd name="connsiteX173" fmla="*/ 5249302 w 6096000"/>
              <a:gd name="connsiteY173" fmla="*/ 902932 h 6857994"/>
              <a:gd name="connsiteX174" fmla="*/ 5194198 w 6096000"/>
              <a:gd name="connsiteY174" fmla="*/ 892424 h 6857994"/>
              <a:gd name="connsiteX175" fmla="*/ 5518833 w 6096000"/>
              <a:gd name="connsiteY175" fmla="*/ 892424 h 6857994"/>
              <a:gd name="connsiteX176" fmla="*/ 5463706 w 6096000"/>
              <a:gd name="connsiteY176" fmla="*/ 902932 h 6857994"/>
              <a:gd name="connsiteX177" fmla="*/ 5434861 w 6096000"/>
              <a:gd name="connsiteY177" fmla="*/ 940911 h 6857994"/>
              <a:gd name="connsiteX178" fmla="*/ 5482299 w 6096000"/>
              <a:gd name="connsiteY178" fmla="*/ 934806 h 6857994"/>
              <a:gd name="connsiteX179" fmla="*/ 5518833 w 6096000"/>
              <a:gd name="connsiteY179" fmla="*/ 892424 h 6857994"/>
              <a:gd name="connsiteX180" fmla="*/ 5182199 w 6096000"/>
              <a:gd name="connsiteY180" fmla="*/ 891844 h 6857994"/>
              <a:gd name="connsiteX181" fmla="*/ 5116121 w 6096000"/>
              <a:gd name="connsiteY181" fmla="*/ 898670 h 6857994"/>
              <a:gd name="connsiteX182" fmla="*/ 5162348 w 6096000"/>
              <a:gd name="connsiteY182" fmla="*/ 946295 h 6857994"/>
              <a:gd name="connsiteX183" fmla="*/ 5217149 w 6096000"/>
              <a:gd name="connsiteY183" fmla="*/ 935461 h 6857994"/>
              <a:gd name="connsiteX184" fmla="*/ 5182199 w 6096000"/>
              <a:gd name="connsiteY184" fmla="*/ 891844 h 6857994"/>
              <a:gd name="connsiteX185" fmla="*/ 5530786 w 6096000"/>
              <a:gd name="connsiteY185" fmla="*/ 891842 h 6857994"/>
              <a:gd name="connsiteX186" fmla="*/ 5495720 w 6096000"/>
              <a:gd name="connsiteY186" fmla="*/ 935460 h 6857994"/>
              <a:gd name="connsiteX187" fmla="*/ 5550544 w 6096000"/>
              <a:gd name="connsiteY187" fmla="*/ 946294 h 6857994"/>
              <a:gd name="connsiteX188" fmla="*/ 5596841 w 6096000"/>
              <a:gd name="connsiteY188" fmla="*/ 898669 h 6857994"/>
              <a:gd name="connsiteX189" fmla="*/ 5530786 w 6096000"/>
              <a:gd name="connsiteY189" fmla="*/ 891842 h 6857994"/>
              <a:gd name="connsiteX190" fmla="*/ 5235998 w 6096000"/>
              <a:gd name="connsiteY190" fmla="*/ 842563 h 6857994"/>
              <a:gd name="connsiteX191" fmla="*/ 5255943 w 6096000"/>
              <a:gd name="connsiteY191" fmla="*/ 895033 h 6857994"/>
              <a:gd name="connsiteX192" fmla="*/ 5298301 w 6096000"/>
              <a:gd name="connsiteY192" fmla="*/ 916842 h 6857994"/>
              <a:gd name="connsiteX193" fmla="*/ 5284205 w 6096000"/>
              <a:gd name="connsiteY193" fmla="*/ 871291 h 6857994"/>
              <a:gd name="connsiteX194" fmla="*/ 5235998 w 6096000"/>
              <a:gd name="connsiteY194" fmla="*/ 842563 h 6857994"/>
              <a:gd name="connsiteX195" fmla="*/ 5477011 w 6096000"/>
              <a:gd name="connsiteY195" fmla="*/ 842561 h 6857994"/>
              <a:gd name="connsiteX196" fmla="*/ 5428827 w 6096000"/>
              <a:gd name="connsiteY196" fmla="*/ 871290 h 6857994"/>
              <a:gd name="connsiteX197" fmla="*/ 5414684 w 6096000"/>
              <a:gd name="connsiteY197" fmla="*/ 916841 h 6857994"/>
              <a:gd name="connsiteX198" fmla="*/ 5457066 w 6096000"/>
              <a:gd name="connsiteY198" fmla="*/ 895032 h 6857994"/>
              <a:gd name="connsiteX199" fmla="*/ 5477011 w 6096000"/>
              <a:gd name="connsiteY199" fmla="*/ 842561 h 6857994"/>
              <a:gd name="connsiteX200" fmla="*/ 5160623 w 6096000"/>
              <a:gd name="connsiteY200" fmla="*/ 821781 h 6857994"/>
              <a:gd name="connsiteX201" fmla="*/ 5187744 w 6096000"/>
              <a:gd name="connsiteY201" fmla="*/ 882337 h 6857994"/>
              <a:gd name="connsiteX202" fmla="*/ 5242988 w 6096000"/>
              <a:gd name="connsiteY202" fmla="*/ 890935 h 6857994"/>
              <a:gd name="connsiteX203" fmla="*/ 5224977 w 6096000"/>
              <a:gd name="connsiteY203" fmla="*/ 837951 h 6857994"/>
              <a:gd name="connsiteX204" fmla="*/ 5160623 w 6096000"/>
              <a:gd name="connsiteY204" fmla="*/ 821781 h 6857994"/>
              <a:gd name="connsiteX205" fmla="*/ 5552432 w 6096000"/>
              <a:gd name="connsiteY205" fmla="*/ 821756 h 6857994"/>
              <a:gd name="connsiteX206" fmla="*/ 5488055 w 6096000"/>
              <a:gd name="connsiteY206" fmla="*/ 837996 h 6857994"/>
              <a:gd name="connsiteX207" fmla="*/ 5470044 w 6096000"/>
              <a:gd name="connsiteY207" fmla="*/ 890933 h 6857994"/>
              <a:gd name="connsiteX208" fmla="*/ 5525264 w 6096000"/>
              <a:gd name="connsiteY208" fmla="*/ 882335 h 6857994"/>
              <a:gd name="connsiteX209" fmla="*/ 5552432 w 6096000"/>
              <a:gd name="connsiteY209" fmla="*/ 821756 h 6857994"/>
              <a:gd name="connsiteX210" fmla="*/ 5066143 w 6096000"/>
              <a:gd name="connsiteY210" fmla="*/ 818450 h 6857994"/>
              <a:gd name="connsiteX211" fmla="*/ 5109480 w 6096000"/>
              <a:gd name="connsiteY211" fmla="*/ 890120 h 6857994"/>
              <a:gd name="connsiteX212" fmla="*/ 5176444 w 6096000"/>
              <a:gd name="connsiteY212" fmla="*/ 882151 h 6857994"/>
              <a:gd name="connsiteX213" fmla="*/ 5149789 w 6096000"/>
              <a:gd name="connsiteY213" fmla="*/ 820291 h 6857994"/>
              <a:gd name="connsiteX214" fmla="*/ 5066143 w 6096000"/>
              <a:gd name="connsiteY214" fmla="*/ 818450 h 6857994"/>
              <a:gd name="connsiteX215" fmla="*/ 5646935 w 6096000"/>
              <a:gd name="connsiteY215" fmla="*/ 818450 h 6857994"/>
              <a:gd name="connsiteX216" fmla="*/ 5563219 w 6096000"/>
              <a:gd name="connsiteY216" fmla="*/ 820267 h 6857994"/>
              <a:gd name="connsiteX217" fmla="*/ 5536564 w 6096000"/>
              <a:gd name="connsiteY217" fmla="*/ 882151 h 6857994"/>
              <a:gd name="connsiteX218" fmla="*/ 5603481 w 6096000"/>
              <a:gd name="connsiteY218" fmla="*/ 890120 h 6857994"/>
              <a:gd name="connsiteX219" fmla="*/ 5646935 w 6096000"/>
              <a:gd name="connsiteY219" fmla="*/ 818450 h 6857994"/>
              <a:gd name="connsiteX220" fmla="*/ 5292430 w 6096000"/>
              <a:gd name="connsiteY220" fmla="*/ 810013 h 6857994"/>
              <a:gd name="connsiteX221" fmla="*/ 5290822 w 6096000"/>
              <a:gd name="connsiteY221" fmla="*/ 835363 h 6857994"/>
              <a:gd name="connsiteX222" fmla="*/ 5293222 w 6096000"/>
              <a:gd name="connsiteY222" fmla="*/ 866119 h 6857994"/>
              <a:gd name="connsiteX223" fmla="*/ 5325562 w 6096000"/>
              <a:gd name="connsiteY223" fmla="*/ 901068 h 6857994"/>
              <a:gd name="connsiteX224" fmla="*/ 5324886 w 6096000"/>
              <a:gd name="connsiteY224" fmla="*/ 886669 h 6857994"/>
              <a:gd name="connsiteX225" fmla="*/ 5327869 w 6096000"/>
              <a:gd name="connsiteY225" fmla="*/ 853514 h 6857994"/>
              <a:gd name="connsiteX226" fmla="*/ 5292430 w 6096000"/>
              <a:gd name="connsiteY226" fmla="*/ 810013 h 6857994"/>
              <a:gd name="connsiteX227" fmla="*/ 5420601 w 6096000"/>
              <a:gd name="connsiteY227" fmla="*/ 810011 h 6857994"/>
              <a:gd name="connsiteX228" fmla="*/ 5385116 w 6096000"/>
              <a:gd name="connsiteY228" fmla="*/ 853512 h 6857994"/>
              <a:gd name="connsiteX229" fmla="*/ 5388238 w 6096000"/>
              <a:gd name="connsiteY229" fmla="*/ 886667 h 6857994"/>
              <a:gd name="connsiteX230" fmla="*/ 5387539 w 6096000"/>
              <a:gd name="connsiteY230" fmla="*/ 901066 h 6857994"/>
              <a:gd name="connsiteX231" fmla="*/ 5419902 w 6096000"/>
              <a:gd name="connsiteY231" fmla="*/ 866117 h 6857994"/>
              <a:gd name="connsiteX232" fmla="*/ 5422232 w 6096000"/>
              <a:gd name="connsiteY232" fmla="*/ 835361 h 6857994"/>
              <a:gd name="connsiteX233" fmla="*/ 5420601 w 6096000"/>
              <a:gd name="connsiteY233" fmla="*/ 810011 h 6857994"/>
              <a:gd name="connsiteX234" fmla="*/ 5356504 w 6096000"/>
              <a:gd name="connsiteY234" fmla="*/ 798711 h 6857994"/>
              <a:gd name="connsiteX235" fmla="*/ 5338051 w 6096000"/>
              <a:gd name="connsiteY235" fmla="*/ 851671 h 6857994"/>
              <a:gd name="connsiteX236" fmla="*/ 5356504 w 6096000"/>
              <a:gd name="connsiteY236" fmla="*/ 895591 h 6857994"/>
              <a:gd name="connsiteX237" fmla="*/ 5374981 w 6096000"/>
              <a:gd name="connsiteY237" fmla="*/ 851718 h 6857994"/>
              <a:gd name="connsiteX238" fmla="*/ 5356504 w 6096000"/>
              <a:gd name="connsiteY238" fmla="*/ 798711 h 6857994"/>
              <a:gd name="connsiteX239" fmla="*/ 5228635 w 6096000"/>
              <a:gd name="connsiteY239" fmla="*/ 764673 h 6857994"/>
              <a:gd name="connsiteX240" fmla="*/ 5228379 w 6096000"/>
              <a:gd name="connsiteY240" fmla="*/ 775065 h 6857994"/>
              <a:gd name="connsiteX241" fmla="*/ 5233458 w 6096000"/>
              <a:gd name="connsiteY241" fmla="*/ 830891 h 6857994"/>
              <a:gd name="connsiteX242" fmla="*/ 5282388 w 6096000"/>
              <a:gd name="connsiteY242" fmla="*/ 857802 h 6857994"/>
              <a:gd name="connsiteX243" fmla="*/ 5281083 w 6096000"/>
              <a:gd name="connsiteY243" fmla="*/ 835411 h 6857994"/>
              <a:gd name="connsiteX244" fmla="*/ 5283576 w 6096000"/>
              <a:gd name="connsiteY244" fmla="*/ 801953 h 6857994"/>
              <a:gd name="connsiteX245" fmla="*/ 5228635 w 6096000"/>
              <a:gd name="connsiteY245" fmla="*/ 764673 h 6857994"/>
              <a:gd name="connsiteX246" fmla="*/ 5484373 w 6096000"/>
              <a:gd name="connsiteY246" fmla="*/ 764672 h 6857994"/>
              <a:gd name="connsiteX247" fmla="*/ 5429386 w 6096000"/>
              <a:gd name="connsiteY247" fmla="*/ 801882 h 6857994"/>
              <a:gd name="connsiteX248" fmla="*/ 5431996 w 6096000"/>
              <a:gd name="connsiteY248" fmla="*/ 835457 h 6857994"/>
              <a:gd name="connsiteX249" fmla="*/ 5430691 w 6096000"/>
              <a:gd name="connsiteY249" fmla="*/ 857871 h 6857994"/>
              <a:gd name="connsiteX250" fmla="*/ 5479620 w 6096000"/>
              <a:gd name="connsiteY250" fmla="*/ 830936 h 6857994"/>
              <a:gd name="connsiteX251" fmla="*/ 5484630 w 6096000"/>
              <a:gd name="connsiteY251" fmla="*/ 775017 h 6857994"/>
              <a:gd name="connsiteX252" fmla="*/ 5484373 w 6096000"/>
              <a:gd name="connsiteY252" fmla="*/ 764672 h 6857994"/>
              <a:gd name="connsiteX253" fmla="*/ 5312118 w 6096000"/>
              <a:gd name="connsiteY253" fmla="*/ 734314 h 6857994"/>
              <a:gd name="connsiteX254" fmla="*/ 5293968 w 6096000"/>
              <a:gd name="connsiteY254" fmla="*/ 798225 h 6857994"/>
              <a:gd name="connsiteX255" fmla="*/ 5330782 w 6096000"/>
              <a:gd name="connsiteY255" fmla="*/ 840165 h 6857994"/>
              <a:gd name="connsiteX256" fmla="*/ 5351006 w 6096000"/>
              <a:gd name="connsiteY256" fmla="*/ 788067 h 6857994"/>
              <a:gd name="connsiteX257" fmla="*/ 5312118 w 6096000"/>
              <a:gd name="connsiteY257" fmla="*/ 734314 h 6857994"/>
              <a:gd name="connsiteX258" fmla="*/ 5400913 w 6096000"/>
              <a:gd name="connsiteY258" fmla="*/ 734313 h 6857994"/>
              <a:gd name="connsiteX259" fmla="*/ 5362049 w 6096000"/>
              <a:gd name="connsiteY259" fmla="*/ 788066 h 6857994"/>
              <a:gd name="connsiteX260" fmla="*/ 5382250 w 6096000"/>
              <a:gd name="connsiteY260" fmla="*/ 840164 h 6857994"/>
              <a:gd name="connsiteX261" fmla="*/ 5419087 w 6096000"/>
              <a:gd name="connsiteY261" fmla="*/ 798108 h 6857994"/>
              <a:gd name="connsiteX262" fmla="*/ 5400913 w 6096000"/>
              <a:gd name="connsiteY262" fmla="*/ 734313 h 6857994"/>
              <a:gd name="connsiteX263" fmla="*/ 5140982 w 6096000"/>
              <a:gd name="connsiteY263" fmla="*/ 729260 h 6857994"/>
              <a:gd name="connsiteX264" fmla="*/ 5157268 w 6096000"/>
              <a:gd name="connsiteY264" fmla="*/ 811392 h 6857994"/>
              <a:gd name="connsiteX265" fmla="*/ 5222904 w 6096000"/>
              <a:gd name="connsiteY265" fmla="*/ 826909 h 6857994"/>
              <a:gd name="connsiteX266" fmla="*/ 5218663 w 6096000"/>
              <a:gd name="connsiteY266" fmla="*/ 775021 h 6857994"/>
              <a:gd name="connsiteX267" fmla="*/ 5219059 w 6096000"/>
              <a:gd name="connsiteY267" fmla="*/ 759550 h 6857994"/>
              <a:gd name="connsiteX268" fmla="*/ 5140982 w 6096000"/>
              <a:gd name="connsiteY268" fmla="*/ 729260 h 6857994"/>
              <a:gd name="connsiteX269" fmla="*/ 5572073 w 6096000"/>
              <a:gd name="connsiteY269" fmla="*/ 729259 h 6857994"/>
              <a:gd name="connsiteX270" fmla="*/ 5493972 w 6096000"/>
              <a:gd name="connsiteY270" fmla="*/ 759595 h 6857994"/>
              <a:gd name="connsiteX271" fmla="*/ 5494368 w 6096000"/>
              <a:gd name="connsiteY271" fmla="*/ 775020 h 6857994"/>
              <a:gd name="connsiteX272" fmla="*/ 5490151 w 6096000"/>
              <a:gd name="connsiteY272" fmla="*/ 826955 h 6857994"/>
              <a:gd name="connsiteX273" fmla="*/ 5555763 w 6096000"/>
              <a:gd name="connsiteY273" fmla="*/ 811437 h 6857994"/>
              <a:gd name="connsiteX274" fmla="*/ 5572073 w 6096000"/>
              <a:gd name="connsiteY274" fmla="*/ 729259 h 6857994"/>
              <a:gd name="connsiteX275" fmla="*/ 5241846 w 6096000"/>
              <a:gd name="connsiteY275" fmla="*/ 671034 h 6857994"/>
              <a:gd name="connsiteX276" fmla="*/ 5229008 w 6096000"/>
              <a:gd name="connsiteY276" fmla="*/ 753818 h 6857994"/>
              <a:gd name="connsiteX277" fmla="*/ 5285370 w 6096000"/>
              <a:gd name="connsiteY277" fmla="*/ 790911 h 6857994"/>
              <a:gd name="connsiteX278" fmla="*/ 5304755 w 6096000"/>
              <a:gd name="connsiteY278" fmla="*/ 726254 h 6857994"/>
              <a:gd name="connsiteX279" fmla="*/ 5241846 w 6096000"/>
              <a:gd name="connsiteY279" fmla="*/ 671034 h 6857994"/>
              <a:gd name="connsiteX280" fmla="*/ 5471325 w 6096000"/>
              <a:gd name="connsiteY280" fmla="*/ 671008 h 6857994"/>
              <a:gd name="connsiteX281" fmla="*/ 5408299 w 6096000"/>
              <a:gd name="connsiteY281" fmla="*/ 726252 h 6857994"/>
              <a:gd name="connsiteX282" fmla="*/ 5427708 w 6096000"/>
              <a:gd name="connsiteY282" fmla="*/ 790908 h 6857994"/>
              <a:gd name="connsiteX283" fmla="*/ 5484093 w 6096000"/>
              <a:gd name="connsiteY283" fmla="*/ 753815 h 6857994"/>
              <a:gd name="connsiteX284" fmla="*/ 5471325 w 6096000"/>
              <a:gd name="connsiteY284" fmla="*/ 671008 h 6857994"/>
              <a:gd name="connsiteX285" fmla="*/ 5356504 w 6096000"/>
              <a:gd name="connsiteY285" fmla="*/ 650809 h 6857994"/>
              <a:gd name="connsiteX286" fmla="*/ 5316126 w 6096000"/>
              <a:gd name="connsiteY286" fmla="*/ 724203 h 6857994"/>
              <a:gd name="connsiteX287" fmla="*/ 5356435 w 6096000"/>
              <a:gd name="connsiteY287" fmla="*/ 778352 h 6857994"/>
              <a:gd name="connsiteX288" fmla="*/ 5396766 w 6096000"/>
              <a:gd name="connsiteY288" fmla="*/ 724203 h 6857994"/>
              <a:gd name="connsiteX289" fmla="*/ 5356504 w 6096000"/>
              <a:gd name="connsiteY289" fmla="*/ 650809 h 6857994"/>
              <a:gd name="connsiteX290" fmla="*/ 5631650 w 6096000"/>
              <a:gd name="connsiteY290" fmla="*/ 502902 h 6857994"/>
              <a:gd name="connsiteX291" fmla="*/ 5663920 w 6096000"/>
              <a:gd name="connsiteY291" fmla="*/ 545890 h 6857994"/>
              <a:gd name="connsiteX292" fmla="*/ 5654344 w 6096000"/>
              <a:gd name="connsiteY292" fmla="*/ 582564 h 6857994"/>
              <a:gd name="connsiteX293" fmla="*/ 5629577 w 6096000"/>
              <a:gd name="connsiteY293" fmla="*/ 594028 h 6857994"/>
              <a:gd name="connsiteX294" fmla="*/ 5596701 w 6096000"/>
              <a:gd name="connsiteY294" fmla="*/ 550574 h 6857994"/>
              <a:gd name="connsiteX295" fmla="*/ 5631650 w 6096000"/>
              <a:gd name="connsiteY295" fmla="*/ 502902 h 6857994"/>
              <a:gd name="connsiteX296" fmla="*/ 5502849 w 6096000"/>
              <a:gd name="connsiteY296" fmla="*/ 500457 h 6857994"/>
              <a:gd name="connsiteX297" fmla="*/ 5535725 w 6096000"/>
              <a:gd name="connsiteY297" fmla="*/ 545891 h 6857994"/>
              <a:gd name="connsiteX298" fmla="*/ 5501847 w 6096000"/>
              <a:gd name="connsiteY298" fmla="*/ 591442 h 6857994"/>
              <a:gd name="connsiteX299" fmla="*/ 5469228 w 6096000"/>
              <a:gd name="connsiteY299" fmla="*/ 547056 h 6857994"/>
              <a:gd name="connsiteX300" fmla="*/ 5502849 w 6096000"/>
              <a:gd name="connsiteY300" fmla="*/ 500457 h 6857994"/>
              <a:gd name="connsiteX301" fmla="*/ 5637731 w 6096000"/>
              <a:gd name="connsiteY301" fmla="*/ 486546 h 6857994"/>
              <a:gd name="connsiteX302" fmla="*/ 5597796 w 6096000"/>
              <a:gd name="connsiteY302" fmla="*/ 507795 h 6857994"/>
              <a:gd name="connsiteX303" fmla="*/ 5597143 w 6096000"/>
              <a:gd name="connsiteY303" fmla="*/ 488433 h 6857994"/>
              <a:gd name="connsiteX304" fmla="*/ 5574962 w 6096000"/>
              <a:gd name="connsiteY304" fmla="*/ 488433 h 6857994"/>
              <a:gd name="connsiteX305" fmla="*/ 5575661 w 6096000"/>
              <a:gd name="connsiteY305" fmla="*/ 507562 h 6857994"/>
              <a:gd name="connsiteX306" fmla="*/ 5575731 w 6096000"/>
              <a:gd name="connsiteY306" fmla="*/ 650763 h 6857994"/>
              <a:gd name="connsiteX307" fmla="*/ 5597470 w 6096000"/>
              <a:gd name="connsiteY307" fmla="*/ 650763 h 6857994"/>
              <a:gd name="connsiteX308" fmla="*/ 5597470 w 6096000"/>
              <a:gd name="connsiteY308" fmla="*/ 592700 h 6857994"/>
              <a:gd name="connsiteX309" fmla="*/ 5633421 w 6096000"/>
              <a:gd name="connsiteY309" fmla="*/ 610198 h 6857994"/>
              <a:gd name="connsiteX310" fmla="*/ 5687010 w 6096000"/>
              <a:gd name="connsiteY310" fmla="*/ 547288 h 6857994"/>
              <a:gd name="connsiteX311" fmla="*/ 5637731 w 6096000"/>
              <a:gd name="connsiteY311" fmla="*/ 486546 h 6857994"/>
              <a:gd name="connsiteX312" fmla="*/ 5447652 w 6096000"/>
              <a:gd name="connsiteY312" fmla="*/ 443582 h 6857994"/>
              <a:gd name="connsiteX313" fmla="*/ 5447652 w 6096000"/>
              <a:gd name="connsiteY313" fmla="*/ 584685 h 6857994"/>
              <a:gd name="connsiteX314" fmla="*/ 5447163 w 6096000"/>
              <a:gd name="connsiteY314" fmla="*/ 605655 h 6857994"/>
              <a:gd name="connsiteX315" fmla="*/ 5468412 w 6096000"/>
              <a:gd name="connsiteY315" fmla="*/ 605655 h 6857994"/>
              <a:gd name="connsiteX316" fmla="*/ 5468995 w 6096000"/>
              <a:gd name="connsiteY316" fmla="*/ 588040 h 6857994"/>
              <a:gd name="connsiteX317" fmla="*/ 5480458 w 6096000"/>
              <a:gd name="connsiteY317" fmla="*/ 599947 h 6857994"/>
              <a:gd name="connsiteX318" fmla="*/ 5506601 w 6096000"/>
              <a:gd name="connsiteY318" fmla="*/ 607426 h 6857994"/>
              <a:gd name="connsiteX319" fmla="*/ 5547748 w 6096000"/>
              <a:gd name="connsiteY319" fmla="*/ 587341 h 6857994"/>
              <a:gd name="connsiteX320" fmla="*/ 5558955 w 6096000"/>
              <a:gd name="connsiteY320" fmla="*/ 544563 h 6857994"/>
              <a:gd name="connsiteX321" fmla="*/ 5545162 w 6096000"/>
              <a:gd name="connsiteY321" fmla="*/ 500433 h 6857994"/>
              <a:gd name="connsiteX322" fmla="*/ 5508022 w 6096000"/>
              <a:gd name="connsiteY322" fmla="*/ 485475 h 6857994"/>
              <a:gd name="connsiteX323" fmla="*/ 5469717 w 6096000"/>
              <a:gd name="connsiteY323" fmla="*/ 505559 h 6857994"/>
              <a:gd name="connsiteX324" fmla="*/ 5469624 w 6096000"/>
              <a:gd name="connsiteY324" fmla="*/ 443582 h 6857994"/>
              <a:gd name="connsiteX325" fmla="*/ 0 w 6096000"/>
              <a:gd name="connsiteY325" fmla="*/ 0 h 6857994"/>
              <a:gd name="connsiteX326" fmla="*/ 6096000 w 6096000"/>
              <a:gd name="connsiteY326" fmla="*/ 0 h 6857994"/>
              <a:gd name="connsiteX327" fmla="*/ 6096000 w 6096000"/>
              <a:gd name="connsiteY327" fmla="*/ 6857994 h 6857994"/>
              <a:gd name="connsiteX328" fmla="*/ 0 w 6096000"/>
              <a:gd name="connsiteY328"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6096000" h="6857994">
                <a:moveTo>
                  <a:pt x="5356504" y="1193834"/>
                </a:moveTo>
                <a:cubicBezTo>
                  <a:pt x="5344961" y="1213265"/>
                  <a:pt x="5331419" y="1231434"/>
                  <a:pt x="5316102" y="1248052"/>
                </a:cubicBezTo>
                <a:cubicBezTo>
                  <a:pt x="5327363" y="1273656"/>
                  <a:pt x="5340851" y="1298223"/>
                  <a:pt x="5356411" y="1321469"/>
                </a:cubicBezTo>
                <a:cubicBezTo>
                  <a:pt x="5372007" y="1298239"/>
                  <a:pt x="5385512" y="1273670"/>
                  <a:pt x="5396766" y="1248052"/>
                </a:cubicBezTo>
                <a:cubicBezTo>
                  <a:pt x="5381516" y="1231412"/>
                  <a:pt x="5368025" y="1213244"/>
                  <a:pt x="5356504" y="1193834"/>
                </a:cubicBezTo>
                <a:close/>
                <a:moveTo>
                  <a:pt x="5427592" y="1181415"/>
                </a:moveTo>
                <a:cubicBezTo>
                  <a:pt x="5423456" y="1203566"/>
                  <a:pt x="5417030" y="1225225"/>
                  <a:pt x="5408416" y="1246047"/>
                </a:cubicBezTo>
                <a:cubicBezTo>
                  <a:pt x="5427755" y="1266239"/>
                  <a:pt x="5448804" y="1284723"/>
                  <a:pt x="5471325" y="1301291"/>
                </a:cubicBezTo>
                <a:cubicBezTo>
                  <a:pt x="5477980" y="1274117"/>
                  <a:pt x="5482213" y="1246406"/>
                  <a:pt x="5483977" y="1218485"/>
                </a:cubicBezTo>
                <a:cubicBezTo>
                  <a:pt x="5463953" y="1208107"/>
                  <a:pt x="5445057" y="1195686"/>
                  <a:pt x="5427592" y="1181415"/>
                </a:cubicBezTo>
                <a:close/>
                <a:moveTo>
                  <a:pt x="5285440" y="1181413"/>
                </a:moveTo>
                <a:cubicBezTo>
                  <a:pt x="5267956" y="1195682"/>
                  <a:pt x="5249046" y="1208103"/>
                  <a:pt x="5229008" y="1218483"/>
                </a:cubicBezTo>
                <a:cubicBezTo>
                  <a:pt x="5230861" y="1246405"/>
                  <a:pt x="5235188" y="1274109"/>
                  <a:pt x="5241939" y="1301267"/>
                </a:cubicBezTo>
                <a:cubicBezTo>
                  <a:pt x="5264482" y="1284733"/>
                  <a:pt x="5285531" y="1266254"/>
                  <a:pt x="5304849" y="1246046"/>
                </a:cubicBezTo>
                <a:cubicBezTo>
                  <a:pt x="5296162" y="1225230"/>
                  <a:pt x="5289657" y="1203571"/>
                  <a:pt x="5285440" y="1181413"/>
                </a:cubicBezTo>
                <a:close/>
                <a:moveTo>
                  <a:pt x="5490151" y="1145346"/>
                </a:moveTo>
                <a:cubicBezTo>
                  <a:pt x="5492980" y="1162513"/>
                  <a:pt x="5494392" y="1179883"/>
                  <a:pt x="5494368" y="1197282"/>
                </a:cubicBezTo>
                <a:cubicBezTo>
                  <a:pt x="5494368" y="1202338"/>
                  <a:pt x="5494205" y="1207511"/>
                  <a:pt x="5493995" y="1212707"/>
                </a:cubicBezTo>
                <a:cubicBezTo>
                  <a:pt x="5519068" y="1225106"/>
                  <a:pt x="5545197" y="1235244"/>
                  <a:pt x="5572073" y="1242995"/>
                </a:cubicBezTo>
                <a:cubicBezTo>
                  <a:pt x="5569072" y="1215183"/>
                  <a:pt x="5563613" y="1187692"/>
                  <a:pt x="5555763" y="1160840"/>
                </a:cubicBezTo>
                <a:cubicBezTo>
                  <a:pt x="5533414" y="1157963"/>
                  <a:pt x="5511426" y="1152772"/>
                  <a:pt x="5490151" y="1145346"/>
                </a:cubicBezTo>
                <a:close/>
                <a:moveTo>
                  <a:pt x="5222904" y="1145345"/>
                </a:moveTo>
                <a:cubicBezTo>
                  <a:pt x="5201627" y="1152761"/>
                  <a:pt x="5179639" y="1157955"/>
                  <a:pt x="5157292" y="1160840"/>
                </a:cubicBezTo>
                <a:cubicBezTo>
                  <a:pt x="5149450" y="1187693"/>
                  <a:pt x="5143993" y="1215185"/>
                  <a:pt x="5140982" y="1242994"/>
                </a:cubicBezTo>
                <a:cubicBezTo>
                  <a:pt x="5167852" y="1235226"/>
                  <a:pt x="5193980" y="1225091"/>
                  <a:pt x="5219059" y="1212706"/>
                </a:cubicBezTo>
                <a:cubicBezTo>
                  <a:pt x="5218850" y="1207510"/>
                  <a:pt x="5218663" y="1202337"/>
                  <a:pt x="5218663" y="1197281"/>
                </a:cubicBezTo>
                <a:cubicBezTo>
                  <a:pt x="5218636" y="1179880"/>
                  <a:pt x="5220055" y="1162510"/>
                  <a:pt x="5222904" y="1145345"/>
                </a:cubicBezTo>
                <a:close/>
                <a:moveTo>
                  <a:pt x="5382250" y="1132134"/>
                </a:moveTo>
                <a:cubicBezTo>
                  <a:pt x="5377669" y="1150224"/>
                  <a:pt x="5370887" y="1167680"/>
                  <a:pt x="5362049" y="1184116"/>
                </a:cubicBezTo>
                <a:cubicBezTo>
                  <a:pt x="5373037" y="1203396"/>
                  <a:pt x="5386076" y="1221433"/>
                  <a:pt x="5400936" y="1237914"/>
                </a:cubicBezTo>
                <a:cubicBezTo>
                  <a:pt x="5409245" y="1217341"/>
                  <a:pt x="5415328" y="1195940"/>
                  <a:pt x="5419087" y="1174074"/>
                </a:cubicBezTo>
                <a:cubicBezTo>
                  <a:pt x="5405133" y="1161657"/>
                  <a:pt x="5392760" y="1147572"/>
                  <a:pt x="5382250" y="1132134"/>
                </a:cubicBezTo>
                <a:close/>
                <a:moveTo>
                  <a:pt x="5330782" y="1132132"/>
                </a:moveTo>
                <a:cubicBezTo>
                  <a:pt x="5320297" y="1147640"/>
                  <a:pt x="5307932" y="1161791"/>
                  <a:pt x="5293968" y="1174258"/>
                </a:cubicBezTo>
                <a:cubicBezTo>
                  <a:pt x="5297698" y="1196133"/>
                  <a:pt x="5303784" y="1217535"/>
                  <a:pt x="5312118" y="1238100"/>
                </a:cubicBezTo>
                <a:cubicBezTo>
                  <a:pt x="5326981" y="1221578"/>
                  <a:pt x="5340020" y="1203501"/>
                  <a:pt x="5351006" y="1184184"/>
                </a:cubicBezTo>
                <a:cubicBezTo>
                  <a:pt x="5342147" y="1167733"/>
                  <a:pt x="5335353" y="1150250"/>
                  <a:pt x="5330782" y="1132132"/>
                </a:cubicBezTo>
                <a:close/>
                <a:moveTo>
                  <a:pt x="5430644" y="1114473"/>
                </a:moveTo>
                <a:cubicBezTo>
                  <a:pt x="5431457" y="1121917"/>
                  <a:pt x="5431893" y="1129399"/>
                  <a:pt x="5431949" y="1136887"/>
                </a:cubicBezTo>
                <a:cubicBezTo>
                  <a:pt x="5431893" y="1148101"/>
                  <a:pt x="5431036" y="1159299"/>
                  <a:pt x="5429386" y="1170392"/>
                </a:cubicBezTo>
                <a:cubicBezTo>
                  <a:pt x="5446304" y="1184782"/>
                  <a:pt x="5464741" y="1197285"/>
                  <a:pt x="5484373" y="1207672"/>
                </a:cubicBezTo>
                <a:cubicBezTo>
                  <a:pt x="5484443" y="1204247"/>
                  <a:pt x="5484583" y="1200752"/>
                  <a:pt x="5484583" y="1197373"/>
                </a:cubicBezTo>
                <a:cubicBezTo>
                  <a:pt x="5484679" y="1178617"/>
                  <a:pt x="5483001" y="1159892"/>
                  <a:pt x="5479574" y="1141454"/>
                </a:cubicBezTo>
                <a:cubicBezTo>
                  <a:pt x="5462215" y="1134508"/>
                  <a:pt x="5445782" y="1125447"/>
                  <a:pt x="5430644" y="1114473"/>
                </a:cubicBezTo>
                <a:close/>
                <a:moveTo>
                  <a:pt x="5282388" y="1114471"/>
                </a:moveTo>
                <a:cubicBezTo>
                  <a:pt x="5267245" y="1125466"/>
                  <a:pt x="5250803" y="1134553"/>
                  <a:pt x="5233435" y="1141522"/>
                </a:cubicBezTo>
                <a:cubicBezTo>
                  <a:pt x="5230000" y="1159915"/>
                  <a:pt x="5228307" y="1178592"/>
                  <a:pt x="5228379" y="1197303"/>
                </a:cubicBezTo>
                <a:cubicBezTo>
                  <a:pt x="5228379" y="1200657"/>
                  <a:pt x="5228636" y="1204223"/>
                  <a:pt x="5228636" y="1207647"/>
                </a:cubicBezTo>
                <a:cubicBezTo>
                  <a:pt x="5248249" y="1197253"/>
                  <a:pt x="5266672" y="1184752"/>
                  <a:pt x="5283576" y="1170367"/>
                </a:cubicBezTo>
                <a:cubicBezTo>
                  <a:pt x="5281962" y="1159286"/>
                  <a:pt x="5281130" y="1148107"/>
                  <a:pt x="5281083" y="1136909"/>
                </a:cubicBezTo>
                <a:cubicBezTo>
                  <a:pt x="5281130" y="1129411"/>
                  <a:pt x="5281565" y="1121922"/>
                  <a:pt x="5282388" y="1114471"/>
                </a:cubicBezTo>
                <a:close/>
                <a:moveTo>
                  <a:pt x="5603481" y="1082157"/>
                </a:moveTo>
                <a:cubicBezTo>
                  <a:pt x="5581516" y="1087150"/>
                  <a:pt x="5559088" y="1089813"/>
                  <a:pt x="5536564" y="1090102"/>
                </a:cubicBezTo>
                <a:cubicBezTo>
                  <a:pt x="5547501" y="1109772"/>
                  <a:pt x="5556378" y="1130518"/>
                  <a:pt x="5563056" y="1152010"/>
                </a:cubicBezTo>
                <a:cubicBezTo>
                  <a:pt x="5590908" y="1155067"/>
                  <a:pt x="5618977" y="1155668"/>
                  <a:pt x="5646935" y="1153804"/>
                </a:cubicBezTo>
                <a:cubicBezTo>
                  <a:pt x="5634591" y="1128687"/>
                  <a:pt x="5620049" y="1104711"/>
                  <a:pt x="5603481" y="1082157"/>
                </a:cubicBezTo>
                <a:close/>
                <a:moveTo>
                  <a:pt x="5109574" y="1082156"/>
                </a:moveTo>
                <a:cubicBezTo>
                  <a:pt x="5092969" y="1104667"/>
                  <a:pt x="5078404" y="1128614"/>
                  <a:pt x="5066050" y="1153710"/>
                </a:cubicBezTo>
                <a:cubicBezTo>
                  <a:pt x="5093962" y="1155570"/>
                  <a:pt x="5121984" y="1154962"/>
                  <a:pt x="5149789" y="1151893"/>
                </a:cubicBezTo>
                <a:cubicBezTo>
                  <a:pt x="5156540" y="1130425"/>
                  <a:pt x="5165504" y="1109716"/>
                  <a:pt x="5176537" y="1090101"/>
                </a:cubicBezTo>
                <a:cubicBezTo>
                  <a:pt x="5153999" y="1089819"/>
                  <a:pt x="5131553" y="1087157"/>
                  <a:pt x="5109574" y="1082156"/>
                </a:cubicBezTo>
                <a:close/>
                <a:moveTo>
                  <a:pt x="5470044" y="1081410"/>
                </a:moveTo>
                <a:cubicBezTo>
                  <a:pt x="5478215" y="1098209"/>
                  <a:pt x="5484266" y="1115961"/>
                  <a:pt x="5488055" y="1134254"/>
                </a:cubicBezTo>
                <a:cubicBezTo>
                  <a:pt x="5508859" y="1142006"/>
                  <a:pt x="5530446" y="1147474"/>
                  <a:pt x="5552432" y="1150564"/>
                </a:cubicBezTo>
                <a:cubicBezTo>
                  <a:pt x="5545598" y="1129445"/>
                  <a:pt x="5536488" y="1109135"/>
                  <a:pt x="5525264" y="1089984"/>
                </a:cubicBezTo>
                <a:cubicBezTo>
                  <a:pt x="5506576" y="1089397"/>
                  <a:pt x="5488031" y="1086517"/>
                  <a:pt x="5470044" y="1081410"/>
                </a:cubicBezTo>
                <a:close/>
                <a:moveTo>
                  <a:pt x="5242988" y="1081410"/>
                </a:moveTo>
                <a:cubicBezTo>
                  <a:pt x="5224995" y="1086531"/>
                  <a:pt x="5206442" y="1089427"/>
                  <a:pt x="5187744" y="1090031"/>
                </a:cubicBezTo>
                <a:cubicBezTo>
                  <a:pt x="5176549" y="1109188"/>
                  <a:pt x="5167456" y="1129501"/>
                  <a:pt x="5160623" y="1150610"/>
                </a:cubicBezTo>
                <a:cubicBezTo>
                  <a:pt x="5182601" y="1147516"/>
                  <a:pt x="5204178" y="1142048"/>
                  <a:pt x="5224977" y="1134300"/>
                </a:cubicBezTo>
                <a:cubicBezTo>
                  <a:pt x="5228762" y="1115991"/>
                  <a:pt x="5234812" y="1098223"/>
                  <a:pt x="5242988" y="1081410"/>
                </a:cubicBezTo>
                <a:close/>
                <a:moveTo>
                  <a:pt x="5356504" y="1076631"/>
                </a:moveTo>
                <a:cubicBezTo>
                  <a:pt x="5352224" y="1091995"/>
                  <a:pt x="5346024" y="1106760"/>
                  <a:pt x="5338051" y="1120574"/>
                </a:cubicBezTo>
                <a:cubicBezTo>
                  <a:pt x="5341819" y="1138986"/>
                  <a:pt x="5348023" y="1156812"/>
                  <a:pt x="5356504" y="1173581"/>
                </a:cubicBezTo>
                <a:cubicBezTo>
                  <a:pt x="5364995" y="1156815"/>
                  <a:pt x="5371202" y="1138988"/>
                  <a:pt x="5374958" y="1120574"/>
                </a:cubicBezTo>
                <a:cubicBezTo>
                  <a:pt x="5367024" y="1106741"/>
                  <a:pt x="5360824" y="1091981"/>
                  <a:pt x="5356504" y="1076631"/>
                </a:cubicBezTo>
                <a:close/>
                <a:moveTo>
                  <a:pt x="5387469" y="1071180"/>
                </a:moveTo>
                <a:cubicBezTo>
                  <a:pt x="5387842" y="1076003"/>
                  <a:pt x="5388168" y="1080780"/>
                  <a:pt x="5388168" y="1085603"/>
                </a:cubicBezTo>
                <a:cubicBezTo>
                  <a:pt x="5388129" y="1096724"/>
                  <a:pt x="5387108" y="1107817"/>
                  <a:pt x="5385116" y="1118758"/>
                </a:cubicBezTo>
                <a:cubicBezTo>
                  <a:pt x="5394914" y="1134763"/>
                  <a:pt x="5406817" y="1149379"/>
                  <a:pt x="5420508" y="1162212"/>
                </a:cubicBezTo>
                <a:cubicBezTo>
                  <a:pt x="5421531" y="1153792"/>
                  <a:pt x="5422074" y="1145320"/>
                  <a:pt x="5422139" y="1136839"/>
                </a:cubicBezTo>
                <a:cubicBezTo>
                  <a:pt x="5422177" y="1126557"/>
                  <a:pt x="5421396" y="1116288"/>
                  <a:pt x="5419809" y="1106130"/>
                </a:cubicBezTo>
                <a:cubicBezTo>
                  <a:pt x="5407626" y="1095861"/>
                  <a:pt x="5396764" y="1084123"/>
                  <a:pt x="5387469" y="1071180"/>
                </a:cubicBezTo>
                <a:close/>
                <a:moveTo>
                  <a:pt x="5325562" y="1071179"/>
                </a:moveTo>
                <a:cubicBezTo>
                  <a:pt x="5316249" y="1084141"/>
                  <a:pt x="5305364" y="1095898"/>
                  <a:pt x="5293152" y="1106175"/>
                </a:cubicBezTo>
                <a:cubicBezTo>
                  <a:pt x="5291580" y="1116343"/>
                  <a:pt x="5290799" y="1126618"/>
                  <a:pt x="5290823" y="1136908"/>
                </a:cubicBezTo>
                <a:cubicBezTo>
                  <a:pt x="5290867" y="1145382"/>
                  <a:pt x="5291405" y="1153846"/>
                  <a:pt x="5292430" y="1162258"/>
                </a:cubicBezTo>
                <a:cubicBezTo>
                  <a:pt x="5306130" y="1149401"/>
                  <a:pt x="5318048" y="1134773"/>
                  <a:pt x="5327869" y="1118757"/>
                </a:cubicBezTo>
                <a:cubicBezTo>
                  <a:pt x="5325900" y="1107816"/>
                  <a:pt x="5324903" y="1096720"/>
                  <a:pt x="5324887" y="1085602"/>
                </a:cubicBezTo>
                <a:cubicBezTo>
                  <a:pt x="5324887" y="1080779"/>
                  <a:pt x="5325190" y="1076002"/>
                  <a:pt x="5325562" y="1071179"/>
                </a:cubicBezTo>
                <a:close/>
                <a:moveTo>
                  <a:pt x="5414684" y="1055430"/>
                </a:moveTo>
                <a:cubicBezTo>
                  <a:pt x="5421285" y="1069988"/>
                  <a:pt x="5426038" y="1085312"/>
                  <a:pt x="5428827" y="1101051"/>
                </a:cubicBezTo>
                <a:cubicBezTo>
                  <a:pt x="5443524" y="1112750"/>
                  <a:pt x="5459732" y="1122414"/>
                  <a:pt x="5477011" y="1129779"/>
                </a:cubicBezTo>
                <a:cubicBezTo>
                  <a:pt x="5472721" y="1111489"/>
                  <a:pt x="5466016" y="1093850"/>
                  <a:pt x="5457066" y="1077332"/>
                </a:cubicBezTo>
                <a:cubicBezTo>
                  <a:pt x="5442070" y="1071849"/>
                  <a:pt x="5427830" y="1064491"/>
                  <a:pt x="5414684" y="1055430"/>
                </a:cubicBezTo>
                <a:close/>
                <a:moveTo>
                  <a:pt x="5298348" y="1055429"/>
                </a:moveTo>
                <a:cubicBezTo>
                  <a:pt x="5285207" y="1064486"/>
                  <a:pt x="5270976" y="1071843"/>
                  <a:pt x="5255989" y="1077330"/>
                </a:cubicBezTo>
                <a:cubicBezTo>
                  <a:pt x="5247011" y="1093817"/>
                  <a:pt x="5240287" y="1111432"/>
                  <a:pt x="5235998" y="1129708"/>
                </a:cubicBezTo>
                <a:cubicBezTo>
                  <a:pt x="5253296" y="1122337"/>
                  <a:pt x="5269526" y="1112672"/>
                  <a:pt x="5284252" y="1100980"/>
                </a:cubicBezTo>
                <a:cubicBezTo>
                  <a:pt x="5287031" y="1085266"/>
                  <a:pt x="5291766" y="1069966"/>
                  <a:pt x="5298348" y="1055429"/>
                </a:cubicBezTo>
                <a:close/>
                <a:moveTo>
                  <a:pt x="5278193" y="1031383"/>
                </a:moveTo>
                <a:cubicBezTo>
                  <a:pt x="5262702" y="1035372"/>
                  <a:pt x="5246775" y="1037415"/>
                  <a:pt x="5230779" y="1037464"/>
                </a:cubicBezTo>
                <a:cubicBezTo>
                  <a:pt x="5216745" y="1049902"/>
                  <a:pt x="5204442" y="1064163"/>
                  <a:pt x="5194198" y="1079870"/>
                </a:cubicBezTo>
                <a:cubicBezTo>
                  <a:pt x="5212955" y="1078828"/>
                  <a:pt x="5231488" y="1075277"/>
                  <a:pt x="5249302" y="1069315"/>
                </a:cubicBezTo>
                <a:cubicBezTo>
                  <a:pt x="5257290" y="1055501"/>
                  <a:pt x="5266998" y="1042756"/>
                  <a:pt x="5278193" y="1031383"/>
                </a:cubicBezTo>
                <a:close/>
                <a:moveTo>
                  <a:pt x="5434861" y="1031360"/>
                </a:moveTo>
                <a:cubicBezTo>
                  <a:pt x="5446045" y="1042740"/>
                  <a:pt x="5455735" y="1055495"/>
                  <a:pt x="5463706" y="1069316"/>
                </a:cubicBezTo>
                <a:cubicBezTo>
                  <a:pt x="5481530" y="1075273"/>
                  <a:pt x="5500070" y="1078822"/>
                  <a:pt x="5518833" y="1079871"/>
                </a:cubicBezTo>
                <a:cubicBezTo>
                  <a:pt x="5508609" y="1064162"/>
                  <a:pt x="5496323" y="1049900"/>
                  <a:pt x="5482299" y="1037465"/>
                </a:cubicBezTo>
                <a:cubicBezTo>
                  <a:pt x="5466292" y="1037427"/>
                  <a:pt x="5450355" y="1035377"/>
                  <a:pt x="5434861" y="1031360"/>
                </a:cubicBezTo>
                <a:close/>
                <a:moveTo>
                  <a:pt x="5550544" y="1026073"/>
                </a:moveTo>
                <a:cubicBezTo>
                  <a:pt x="5532790" y="1031947"/>
                  <a:pt x="5514374" y="1035593"/>
                  <a:pt x="5495720" y="1036931"/>
                </a:cubicBezTo>
                <a:cubicBezTo>
                  <a:pt x="5509129" y="1050006"/>
                  <a:pt x="5520905" y="1064660"/>
                  <a:pt x="5530786" y="1080571"/>
                </a:cubicBezTo>
                <a:cubicBezTo>
                  <a:pt x="5552953" y="1080660"/>
                  <a:pt x="5575067" y="1078369"/>
                  <a:pt x="5596748" y="1073744"/>
                </a:cubicBezTo>
                <a:cubicBezTo>
                  <a:pt x="5583099" y="1056244"/>
                  <a:pt x="5567609" y="1040263"/>
                  <a:pt x="5550544" y="1026073"/>
                </a:cubicBezTo>
                <a:close/>
                <a:moveTo>
                  <a:pt x="5162441" y="1026072"/>
                </a:moveTo>
                <a:cubicBezTo>
                  <a:pt x="5145443" y="1040229"/>
                  <a:pt x="5130015" y="1056174"/>
                  <a:pt x="5116424" y="1073628"/>
                </a:cubicBezTo>
                <a:cubicBezTo>
                  <a:pt x="5138112" y="1078255"/>
                  <a:pt x="5160233" y="1080545"/>
                  <a:pt x="5182409" y="1080455"/>
                </a:cubicBezTo>
                <a:cubicBezTo>
                  <a:pt x="5192223" y="1064529"/>
                  <a:pt x="5203961" y="1049871"/>
                  <a:pt x="5217358" y="1036813"/>
                </a:cubicBezTo>
                <a:cubicBezTo>
                  <a:pt x="5198678" y="1035525"/>
                  <a:pt x="5180230" y="1031918"/>
                  <a:pt x="5162441" y="1026072"/>
                </a:cubicBezTo>
                <a:close/>
                <a:moveTo>
                  <a:pt x="5621468" y="991893"/>
                </a:moveTo>
                <a:cubicBezTo>
                  <a:pt x="5602477" y="1004058"/>
                  <a:pt x="5582278" y="1014223"/>
                  <a:pt x="5561192" y="1022229"/>
                </a:cubicBezTo>
                <a:cubicBezTo>
                  <a:pt x="5578296" y="1036934"/>
                  <a:pt x="5593812" y="1053387"/>
                  <a:pt x="5607489" y="1071323"/>
                </a:cubicBezTo>
                <a:cubicBezTo>
                  <a:pt x="5634640" y="1064696"/>
                  <a:pt x="5661150" y="1055675"/>
                  <a:pt x="5686708" y="1044364"/>
                </a:cubicBezTo>
                <a:cubicBezTo>
                  <a:pt x="5666544" y="1024993"/>
                  <a:pt x="5644712" y="1007434"/>
                  <a:pt x="5621468" y="991893"/>
                </a:cubicBezTo>
                <a:close/>
                <a:moveTo>
                  <a:pt x="5091540" y="991893"/>
                </a:moveTo>
                <a:cubicBezTo>
                  <a:pt x="5068292" y="1007429"/>
                  <a:pt x="5046461" y="1024988"/>
                  <a:pt x="5026301" y="1044364"/>
                </a:cubicBezTo>
                <a:cubicBezTo>
                  <a:pt x="5051858" y="1055677"/>
                  <a:pt x="5078368" y="1064698"/>
                  <a:pt x="5105520" y="1071323"/>
                </a:cubicBezTo>
                <a:cubicBezTo>
                  <a:pt x="5119220" y="1053387"/>
                  <a:pt x="5134743" y="1036917"/>
                  <a:pt x="5151840" y="1022183"/>
                </a:cubicBezTo>
                <a:cubicBezTo>
                  <a:pt x="5130748" y="1014195"/>
                  <a:pt x="5110540" y="1004046"/>
                  <a:pt x="5091540" y="991893"/>
                </a:cubicBezTo>
                <a:close/>
                <a:moveTo>
                  <a:pt x="5492108" y="991284"/>
                </a:moveTo>
                <a:cubicBezTo>
                  <a:pt x="5477147" y="996762"/>
                  <a:pt x="5461550" y="1000324"/>
                  <a:pt x="5445695" y="1001885"/>
                </a:cubicBezTo>
                <a:cubicBezTo>
                  <a:pt x="5460038" y="1008784"/>
                  <a:pt x="5473468" y="1017440"/>
                  <a:pt x="5485677" y="1027655"/>
                </a:cubicBezTo>
                <a:cubicBezTo>
                  <a:pt x="5504448" y="1027154"/>
                  <a:pt x="5523066" y="1024146"/>
                  <a:pt x="5541037" y="1018708"/>
                </a:cubicBezTo>
                <a:cubicBezTo>
                  <a:pt x="5526025" y="1007421"/>
                  <a:pt x="5509569" y="998199"/>
                  <a:pt x="5492108" y="991284"/>
                </a:cubicBezTo>
                <a:close/>
                <a:moveTo>
                  <a:pt x="5220900" y="991284"/>
                </a:moveTo>
                <a:cubicBezTo>
                  <a:pt x="5203437" y="998171"/>
                  <a:pt x="5186973" y="1007363"/>
                  <a:pt x="5171947" y="1018615"/>
                </a:cubicBezTo>
                <a:cubicBezTo>
                  <a:pt x="5189925" y="1024060"/>
                  <a:pt x="5208552" y="1027068"/>
                  <a:pt x="5227330" y="1027562"/>
                </a:cubicBezTo>
                <a:cubicBezTo>
                  <a:pt x="5239539" y="1017377"/>
                  <a:pt x="5252980" y="1008766"/>
                  <a:pt x="5267336" y="1001932"/>
                </a:cubicBezTo>
                <a:cubicBezTo>
                  <a:pt x="5251475" y="1000324"/>
                  <a:pt x="5235876" y="996748"/>
                  <a:pt x="5220900" y="991284"/>
                </a:cubicBezTo>
                <a:close/>
                <a:moveTo>
                  <a:pt x="5160507" y="957199"/>
                </a:moveTo>
                <a:cubicBezTo>
                  <a:pt x="5139624" y="964648"/>
                  <a:pt x="5119622" y="974369"/>
                  <a:pt x="5100860" y="986183"/>
                </a:cubicBezTo>
                <a:cubicBezTo>
                  <a:pt x="5119649" y="997925"/>
                  <a:pt x="5139647" y="1007609"/>
                  <a:pt x="5160507" y="1015076"/>
                </a:cubicBezTo>
                <a:cubicBezTo>
                  <a:pt x="5175172" y="1003492"/>
                  <a:pt x="5191225" y="993789"/>
                  <a:pt x="5208295" y="986183"/>
                </a:cubicBezTo>
                <a:cubicBezTo>
                  <a:pt x="5191243" y="978506"/>
                  <a:pt x="5175195" y="968774"/>
                  <a:pt x="5160507" y="957199"/>
                </a:cubicBezTo>
                <a:close/>
                <a:moveTo>
                  <a:pt x="5552525" y="957198"/>
                </a:moveTo>
                <a:cubicBezTo>
                  <a:pt x="5537832" y="968778"/>
                  <a:pt x="5521776" y="978513"/>
                  <a:pt x="5504714" y="986183"/>
                </a:cubicBezTo>
                <a:cubicBezTo>
                  <a:pt x="5521793" y="993781"/>
                  <a:pt x="5537856" y="1003488"/>
                  <a:pt x="5552525" y="1015075"/>
                </a:cubicBezTo>
                <a:cubicBezTo>
                  <a:pt x="5573406" y="1007607"/>
                  <a:pt x="5593421" y="997905"/>
                  <a:pt x="5612219" y="986136"/>
                </a:cubicBezTo>
                <a:cubicBezTo>
                  <a:pt x="5593435" y="974347"/>
                  <a:pt x="5573418" y="964642"/>
                  <a:pt x="5552525" y="957198"/>
                </a:cubicBezTo>
                <a:close/>
                <a:moveTo>
                  <a:pt x="5227330" y="944522"/>
                </a:moveTo>
                <a:cubicBezTo>
                  <a:pt x="5208559" y="945030"/>
                  <a:pt x="5189941" y="948047"/>
                  <a:pt x="5171970" y="953492"/>
                </a:cubicBezTo>
                <a:cubicBezTo>
                  <a:pt x="5186979" y="964769"/>
                  <a:pt x="5203437" y="973978"/>
                  <a:pt x="5220899" y="980870"/>
                </a:cubicBezTo>
                <a:cubicBezTo>
                  <a:pt x="5235863" y="975424"/>
                  <a:pt x="5251446" y="971864"/>
                  <a:pt x="5267289" y="970268"/>
                </a:cubicBezTo>
                <a:cubicBezTo>
                  <a:pt x="5252950" y="963383"/>
                  <a:pt x="5239526" y="954734"/>
                  <a:pt x="5227330" y="944522"/>
                </a:cubicBezTo>
                <a:close/>
                <a:moveTo>
                  <a:pt x="5485724" y="944522"/>
                </a:moveTo>
                <a:cubicBezTo>
                  <a:pt x="5473515" y="954776"/>
                  <a:pt x="5460066" y="963458"/>
                  <a:pt x="5445695" y="970361"/>
                </a:cubicBezTo>
                <a:cubicBezTo>
                  <a:pt x="5461560" y="971913"/>
                  <a:pt x="5477166" y="975443"/>
                  <a:pt x="5492155" y="980870"/>
                </a:cubicBezTo>
                <a:cubicBezTo>
                  <a:pt x="5509622" y="973987"/>
                  <a:pt x="5526079" y="964779"/>
                  <a:pt x="5541084" y="953492"/>
                </a:cubicBezTo>
                <a:cubicBezTo>
                  <a:pt x="5523113" y="948047"/>
                  <a:pt x="5504494" y="945030"/>
                  <a:pt x="5485724" y="944522"/>
                </a:cubicBezTo>
                <a:close/>
                <a:moveTo>
                  <a:pt x="5105520" y="900931"/>
                </a:moveTo>
                <a:cubicBezTo>
                  <a:pt x="5078374" y="907578"/>
                  <a:pt x="5051866" y="916598"/>
                  <a:pt x="5026301" y="927889"/>
                </a:cubicBezTo>
                <a:cubicBezTo>
                  <a:pt x="5046463" y="947281"/>
                  <a:pt x="5068311" y="964842"/>
                  <a:pt x="5091587" y="980360"/>
                </a:cubicBezTo>
                <a:cubicBezTo>
                  <a:pt x="5110575" y="968188"/>
                  <a:pt x="5130785" y="958036"/>
                  <a:pt x="5151886" y="950070"/>
                </a:cubicBezTo>
                <a:cubicBezTo>
                  <a:pt x="5134759" y="935354"/>
                  <a:pt x="5119218" y="918883"/>
                  <a:pt x="5105520" y="900931"/>
                </a:cubicBezTo>
                <a:close/>
                <a:moveTo>
                  <a:pt x="5607418" y="900908"/>
                </a:moveTo>
                <a:cubicBezTo>
                  <a:pt x="5593739" y="918891"/>
                  <a:pt x="5578198" y="935378"/>
                  <a:pt x="5561052" y="950094"/>
                </a:cubicBezTo>
                <a:cubicBezTo>
                  <a:pt x="5582169" y="958060"/>
                  <a:pt x="5602393" y="968212"/>
                  <a:pt x="5621398" y="980383"/>
                </a:cubicBezTo>
                <a:cubicBezTo>
                  <a:pt x="5644640" y="964829"/>
                  <a:pt x="5666469" y="947263"/>
                  <a:pt x="5686638" y="927889"/>
                </a:cubicBezTo>
                <a:cubicBezTo>
                  <a:pt x="5661073" y="916591"/>
                  <a:pt x="5634565" y="907562"/>
                  <a:pt x="5607418" y="900908"/>
                </a:cubicBezTo>
                <a:close/>
                <a:moveTo>
                  <a:pt x="5194198" y="892424"/>
                </a:moveTo>
                <a:cubicBezTo>
                  <a:pt x="5204455" y="908114"/>
                  <a:pt x="5216757" y="922366"/>
                  <a:pt x="5230779" y="934806"/>
                </a:cubicBezTo>
                <a:cubicBezTo>
                  <a:pt x="5246761" y="934850"/>
                  <a:pt x="5262676" y="936901"/>
                  <a:pt x="5278147" y="940911"/>
                </a:cubicBezTo>
                <a:cubicBezTo>
                  <a:pt x="5266984" y="929506"/>
                  <a:pt x="5257294" y="916747"/>
                  <a:pt x="5249302" y="902932"/>
                </a:cubicBezTo>
                <a:cubicBezTo>
                  <a:pt x="5231483" y="896995"/>
                  <a:pt x="5212951" y="893461"/>
                  <a:pt x="5194198" y="892424"/>
                </a:cubicBezTo>
                <a:close/>
                <a:moveTo>
                  <a:pt x="5518833" y="892424"/>
                </a:moveTo>
                <a:cubicBezTo>
                  <a:pt x="5500072" y="893468"/>
                  <a:pt x="5481535" y="897002"/>
                  <a:pt x="5463706" y="902932"/>
                </a:cubicBezTo>
                <a:cubicBezTo>
                  <a:pt x="5455728" y="916756"/>
                  <a:pt x="5446038" y="929517"/>
                  <a:pt x="5434861" y="940911"/>
                </a:cubicBezTo>
                <a:cubicBezTo>
                  <a:pt x="5450355" y="936894"/>
                  <a:pt x="5466292" y="934843"/>
                  <a:pt x="5482299" y="934806"/>
                </a:cubicBezTo>
                <a:cubicBezTo>
                  <a:pt x="5496300" y="922360"/>
                  <a:pt x="5508586" y="908107"/>
                  <a:pt x="5518833" y="892424"/>
                </a:cubicBezTo>
                <a:close/>
                <a:moveTo>
                  <a:pt x="5182199" y="891844"/>
                </a:moveTo>
                <a:cubicBezTo>
                  <a:pt x="5159992" y="891736"/>
                  <a:pt x="5137838" y="894027"/>
                  <a:pt x="5116121" y="898670"/>
                </a:cubicBezTo>
                <a:cubicBezTo>
                  <a:pt x="5129765" y="916169"/>
                  <a:pt x="5145265" y="932136"/>
                  <a:pt x="5162348" y="946295"/>
                </a:cubicBezTo>
                <a:cubicBezTo>
                  <a:pt x="5180099" y="940440"/>
                  <a:pt x="5198505" y="936800"/>
                  <a:pt x="5217149" y="935461"/>
                </a:cubicBezTo>
                <a:cubicBezTo>
                  <a:pt x="5203752" y="922413"/>
                  <a:pt x="5192013" y="907762"/>
                  <a:pt x="5182199" y="891844"/>
                </a:cubicBezTo>
                <a:close/>
                <a:moveTo>
                  <a:pt x="5530786" y="891842"/>
                </a:moveTo>
                <a:cubicBezTo>
                  <a:pt x="5520898" y="907742"/>
                  <a:pt x="5509124" y="922386"/>
                  <a:pt x="5495720" y="935460"/>
                </a:cubicBezTo>
                <a:cubicBezTo>
                  <a:pt x="5514371" y="936799"/>
                  <a:pt x="5532785" y="940439"/>
                  <a:pt x="5550544" y="946294"/>
                </a:cubicBezTo>
                <a:cubicBezTo>
                  <a:pt x="5567642" y="932128"/>
                  <a:pt x="5583164" y="916160"/>
                  <a:pt x="5596841" y="898669"/>
                </a:cubicBezTo>
                <a:cubicBezTo>
                  <a:pt x="5575132" y="894026"/>
                  <a:pt x="5552986" y="891738"/>
                  <a:pt x="5530786" y="891842"/>
                </a:cubicBezTo>
                <a:close/>
                <a:moveTo>
                  <a:pt x="5235998" y="842563"/>
                </a:moveTo>
                <a:cubicBezTo>
                  <a:pt x="5240276" y="860865"/>
                  <a:pt x="5246984" y="878511"/>
                  <a:pt x="5255943" y="895033"/>
                </a:cubicBezTo>
                <a:cubicBezTo>
                  <a:pt x="5270924" y="900491"/>
                  <a:pt x="5285156" y="907818"/>
                  <a:pt x="5298301" y="916842"/>
                </a:cubicBezTo>
                <a:cubicBezTo>
                  <a:pt x="5291717" y="902307"/>
                  <a:pt x="5286982" y="887004"/>
                  <a:pt x="5284205" y="871291"/>
                </a:cubicBezTo>
                <a:cubicBezTo>
                  <a:pt x="5269487" y="859611"/>
                  <a:pt x="5253274" y="849950"/>
                  <a:pt x="5235998" y="842563"/>
                </a:cubicBezTo>
                <a:close/>
                <a:moveTo>
                  <a:pt x="5477011" y="842561"/>
                </a:moveTo>
                <a:cubicBezTo>
                  <a:pt x="5459732" y="849926"/>
                  <a:pt x="5443524" y="859591"/>
                  <a:pt x="5428827" y="871290"/>
                </a:cubicBezTo>
                <a:cubicBezTo>
                  <a:pt x="5426033" y="887005"/>
                  <a:pt x="5421282" y="902306"/>
                  <a:pt x="5414684" y="916841"/>
                </a:cubicBezTo>
                <a:cubicBezTo>
                  <a:pt x="5427834" y="907812"/>
                  <a:pt x="5442075" y="900484"/>
                  <a:pt x="5457066" y="895032"/>
                </a:cubicBezTo>
                <a:cubicBezTo>
                  <a:pt x="5466016" y="878506"/>
                  <a:pt x="5472724" y="860861"/>
                  <a:pt x="5477011" y="842561"/>
                </a:cubicBezTo>
                <a:close/>
                <a:moveTo>
                  <a:pt x="5160623" y="821781"/>
                </a:moveTo>
                <a:cubicBezTo>
                  <a:pt x="5167461" y="842881"/>
                  <a:pt x="5176553" y="863185"/>
                  <a:pt x="5187744" y="882337"/>
                </a:cubicBezTo>
                <a:cubicBezTo>
                  <a:pt x="5206442" y="882922"/>
                  <a:pt x="5224996" y="885811"/>
                  <a:pt x="5242988" y="890935"/>
                </a:cubicBezTo>
                <a:cubicBezTo>
                  <a:pt x="5234808" y="874089"/>
                  <a:pt x="5228758" y="856290"/>
                  <a:pt x="5224977" y="837951"/>
                </a:cubicBezTo>
                <a:cubicBezTo>
                  <a:pt x="5204164" y="830278"/>
                  <a:pt x="5182590" y="824859"/>
                  <a:pt x="5160623" y="821781"/>
                </a:cubicBezTo>
                <a:close/>
                <a:moveTo>
                  <a:pt x="5552432" y="821756"/>
                </a:moveTo>
                <a:cubicBezTo>
                  <a:pt x="5530449" y="824829"/>
                  <a:pt x="5508864" y="830274"/>
                  <a:pt x="5488055" y="837996"/>
                </a:cubicBezTo>
                <a:cubicBezTo>
                  <a:pt x="5484271" y="856321"/>
                  <a:pt x="5478220" y="874104"/>
                  <a:pt x="5470044" y="890933"/>
                </a:cubicBezTo>
                <a:cubicBezTo>
                  <a:pt x="5488027" y="885807"/>
                  <a:pt x="5506573" y="882918"/>
                  <a:pt x="5525264" y="882335"/>
                </a:cubicBezTo>
                <a:cubicBezTo>
                  <a:pt x="5536483" y="863183"/>
                  <a:pt x="5545593" y="842873"/>
                  <a:pt x="5552432" y="821756"/>
                </a:cubicBezTo>
                <a:close/>
                <a:moveTo>
                  <a:pt x="5066143" y="818450"/>
                </a:moveTo>
                <a:cubicBezTo>
                  <a:pt x="5078426" y="843583"/>
                  <a:pt x="5092929" y="867568"/>
                  <a:pt x="5109480" y="890120"/>
                </a:cubicBezTo>
                <a:cubicBezTo>
                  <a:pt x="5131464" y="885145"/>
                  <a:pt x="5153907" y="882475"/>
                  <a:pt x="5176444" y="882151"/>
                </a:cubicBezTo>
                <a:cubicBezTo>
                  <a:pt x="5165433" y="862514"/>
                  <a:pt x="5156500" y="841782"/>
                  <a:pt x="5149789" y="820291"/>
                </a:cubicBezTo>
                <a:cubicBezTo>
                  <a:pt x="5122015" y="817224"/>
                  <a:pt x="5094025" y="816607"/>
                  <a:pt x="5066143" y="818450"/>
                </a:cubicBezTo>
                <a:close/>
                <a:moveTo>
                  <a:pt x="5646935" y="818450"/>
                </a:moveTo>
                <a:cubicBezTo>
                  <a:pt x="5619031" y="816607"/>
                  <a:pt x="5591018" y="817215"/>
                  <a:pt x="5563219" y="820267"/>
                </a:cubicBezTo>
                <a:cubicBezTo>
                  <a:pt x="5556492" y="841759"/>
                  <a:pt x="5547559" y="862498"/>
                  <a:pt x="5536564" y="882151"/>
                </a:cubicBezTo>
                <a:cubicBezTo>
                  <a:pt x="5559086" y="882484"/>
                  <a:pt x="5581511" y="885155"/>
                  <a:pt x="5603481" y="890120"/>
                </a:cubicBezTo>
                <a:cubicBezTo>
                  <a:pt x="5620061" y="867566"/>
                  <a:pt x="5634602" y="843581"/>
                  <a:pt x="5646935" y="818450"/>
                </a:cubicBezTo>
                <a:close/>
                <a:moveTo>
                  <a:pt x="5292430" y="810013"/>
                </a:moveTo>
                <a:cubicBezTo>
                  <a:pt x="5291428" y="818427"/>
                  <a:pt x="5290890" y="826889"/>
                  <a:pt x="5290822" y="835363"/>
                </a:cubicBezTo>
                <a:cubicBezTo>
                  <a:pt x="5290824" y="845662"/>
                  <a:pt x="5291626" y="855944"/>
                  <a:pt x="5293222" y="866119"/>
                </a:cubicBezTo>
                <a:cubicBezTo>
                  <a:pt x="5305412" y="876380"/>
                  <a:pt x="5316277" y="888118"/>
                  <a:pt x="5325562" y="901068"/>
                </a:cubicBezTo>
                <a:cubicBezTo>
                  <a:pt x="5325189" y="896292"/>
                  <a:pt x="5324886" y="891469"/>
                  <a:pt x="5324886" y="886669"/>
                </a:cubicBezTo>
                <a:cubicBezTo>
                  <a:pt x="5324902" y="875550"/>
                  <a:pt x="5325900" y="864455"/>
                  <a:pt x="5327869" y="853514"/>
                </a:cubicBezTo>
                <a:cubicBezTo>
                  <a:pt x="5318059" y="837490"/>
                  <a:pt x="5306139" y="822858"/>
                  <a:pt x="5292430" y="810013"/>
                </a:cubicBezTo>
                <a:close/>
                <a:moveTo>
                  <a:pt x="5420601" y="810011"/>
                </a:moveTo>
                <a:cubicBezTo>
                  <a:pt x="5406876" y="822854"/>
                  <a:pt x="5394939" y="837486"/>
                  <a:pt x="5385116" y="853512"/>
                </a:cubicBezTo>
                <a:cubicBezTo>
                  <a:pt x="5387131" y="864451"/>
                  <a:pt x="5388178" y="875544"/>
                  <a:pt x="5388238" y="886667"/>
                </a:cubicBezTo>
                <a:cubicBezTo>
                  <a:pt x="5388238" y="891467"/>
                  <a:pt x="5387912" y="896406"/>
                  <a:pt x="5387539" y="901066"/>
                </a:cubicBezTo>
                <a:cubicBezTo>
                  <a:pt x="5396838" y="888121"/>
                  <a:pt x="5407710" y="876383"/>
                  <a:pt x="5419902" y="866117"/>
                </a:cubicBezTo>
                <a:cubicBezTo>
                  <a:pt x="5421478" y="855942"/>
                  <a:pt x="5422256" y="845657"/>
                  <a:pt x="5422232" y="835361"/>
                </a:cubicBezTo>
                <a:cubicBezTo>
                  <a:pt x="5422167" y="826887"/>
                  <a:pt x="5421622" y="818425"/>
                  <a:pt x="5420601" y="810011"/>
                </a:cubicBezTo>
                <a:close/>
                <a:moveTo>
                  <a:pt x="5356504" y="798711"/>
                </a:moveTo>
                <a:cubicBezTo>
                  <a:pt x="5348016" y="815461"/>
                  <a:pt x="5341812" y="833274"/>
                  <a:pt x="5338051" y="851671"/>
                </a:cubicBezTo>
                <a:cubicBezTo>
                  <a:pt x="5346022" y="865479"/>
                  <a:pt x="5352222" y="880234"/>
                  <a:pt x="5356504" y="895591"/>
                </a:cubicBezTo>
                <a:cubicBezTo>
                  <a:pt x="5360819" y="880258"/>
                  <a:pt x="5367024" y="865518"/>
                  <a:pt x="5374981" y="851718"/>
                </a:cubicBezTo>
                <a:cubicBezTo>
                  <a:pt x="5371216" y="833304"/>
                  <a:pt x="5365002" y="815475"/>
                  <a:pt x="5356504" y="798711"/>
                </a:cubicBezTo>
                <a:close/>
                <a:moveTo>
                  <a:pt x="5228635" y="764673"/>
                </a:moveTo>
                <a:cubicBezTo>
                  <a:pt x="5228542" y="768075"/>
                  <a:pt x="5228379" y="771640"/>
                  <a:pt x="5228379" y="775065"/>
                </a:cubicBezTo>
                <a:cubicBezTo>
                  <a:pt x="5228312" y="793791"/>
                  <a:pt x="5230013" y="812484"/>
                  <a:pt x="5233458" y="830891"/>
                </a:cubicBezTo>
                <a:cubicBezTo>
                  <a:pt x="5250808" y="837825"/>
                  <a:pt x="5267240" y="846863"/>
                  <a:pt x="5282388" y="857802"/>
                </a:cubicBezTo>
                <a:cubicBezTo>
                  <a:pt x="5281563" y="850367"/>
                  <a:pt x="5281127" y="842893"/>
                  <a:pt x="5281083" y="835411"/>
                </a:cubicBezTo>
                <a:cubicBezTo>
                  <a:pt x="5281129" y="824213"/>
                  <a:pt x="5281961" y="813034"/>
                  <a:pt x="5283576" y="801953"/>
                </a:cubicBezTo>
                <a:cubicBezTo>
                  <a:pt x="5266653" y="787591"/>
                  <a:pt x="5248234" y="775093"/>
                  <a:pt x="5228635" y="764673"/>
                </a:cubicBezTo>
                <a:close/>
                <a:moveTo>
                  <a:pt x="5484373" y="764672"/>
                </a:moveTo>
                <a:cubicBezTo>
                  <a:pt x="5464771" y="775080"/>
                  <a:pt x="5446337" y="787555"/>
                  <a:pt x="5429386" y="801882"/>
                </a:cubicBezTo>
                <a:cubicBezTo>
                  <a:pt x="5431052" y="812998"/>
                  <a:pt x="5431926" y="824217"/>
                  <a:pt x="5431996" y="835457"/>
                </a:cubicBezTo>
                <a:cubicBezTo>
                  <a:pt x="5431940" y="842945"/>
                  <a:pt x="5431506" y="850427"/>
                  <a:pt x="5430691" y="857871"/>
                </a:cubicBezTo>
                <a:cubicBezTo>
                  <a:pt x="5445829" y="846913"/>
                  <a:pt x="5462264" y="837866"/>
                  <a:pt x="5479620" y="830936"/>
                </a:cubicBezTo>
                <a:cubicBezTo>
                  <a:pt x="5483048" y="812497"/>
                  <a:pt x="5484723" y="793773"/>
                  <a:pt x="5484630" y="775017"/>
                </a:cubicBezTo>
                <a:cubicBezTo>
                  <a:pt x="5484630" y="771662"/>
                  <a:pt x="5484490" y="768144"/>
                  <a:pt x="5484373" y="764672"/>
                </a:cubicBezTo>
                <a:close/>
                <a:moveTo>
                  <a:pt x="5312118" y="734314"/>
                </a:moveTo>
                <a:cubicBezTo>
                  <a:pt x="5303780" y="754899"/>
                  <a:pt x="5297694" y="776328"/>
                  <a:pt x="5293968" y="798225"/>
                </a:cubicBezTo>
                <a:cubicBezTo>
                  <a:pt x="5307915" y="810642"/>
                  <a:pt x="5320278" y="824726"/>
                  <a:pt x="5330782" y="840165"/>
                </a:cubicBezTo>
                <a:cubicBezTo>
                  <a:pt x="5335358" y="822033"/>
                  <a:pt x="5342150" y="804537"/>
                  <a:pt x="5351006" y="788067"/>
                </a:cubicBezTo>
                <a:cubicBezTo>
                  <a:pt x="5340018" y="768800"/>
                  <a:pt x="5326979" y="750778"/>
                  <a:pt x="5312118" y="734314"/>
                </a:cubicBezTo>
                <a:close/>
                <a:moveTo>
                  <a:pt x="5400913" y="734313"/>
                </a:moveTo>
                <a:cubicBezTo>
                  <a:pt x="5386057" y="750777"/>
                  <a:pt x="5373025" y="768799"/>
                  <a:pt x="5362049" y="788066"/>
                </a:cubicBezTo>
                <a:cubicBezTo>
                  <a:pt x="5370894" y="804538"/>
                  <a:pt x="5377678" y="822034"/>
                  <a:pt x="5382250" y="840164"/>
                </a:cubicBezTo>
                <a:cubicBezTo>
                  <a:pt x="5392767" y="824695"/>
                  <a:pt x="5405139" y="810571"/>
                  <a:pt x="5419087" y="798108"/>
                </a:cubicBezTo>
                <a:cubicBezTo>
                  <a:pt x="5415331" y="776253"/>
                  <a:pt x="5409238" y="754866"/>
                  <a:pt x="5400913" y="734313"/>
                </a:cubicBezTo>
                <a:close/>
                <a:moveTo>
                  <a:pt x="5140982" y="729260"/>
                </a:moveTo>
                <a:cubicBezTo>
                  <a:pt x="5143985" y="757064"/>
                  <a:pt x="5149435" y="784546"/>
                  <a:pt x="5157268" y="811392"/>
                </a:cubicBezTo>
                <a:cubicBezTo>
                  <a:pt x="5179626" y="814276"/>
                  <a:pt x="5201622" y="819477"/>
                  <a:pt x="5222904" y="826909"/>
                </a:cubicBezTo>
                <a:cubicBezTo>
                  <a:pt x="5220055" y="809761"/>
                  <a:pt x="5218636" y="792405"/>
                  <a:pt x="5218663" y="775021"/>
                </a:cubicBezTo>
                <a:cubicBezTo>
                  <a:pt x="5218663" y="769941"/>
                  <a:pt x="5218850" y="764745"/>
                  <a:pt x="5219059" y="759550"/>
                </a:cubicBezTo>
                <a:cubicBezTo>
                  <a:pt x="5193978" y="747170"/>
                  <a:pt x="5167850" y="737035"/>
                  <a:pt x="5140982" y="729260"/>
                </a:cubicBezTo>
                <a:close/>
                <a:moveTo>
                  <a:pt x="5572073" y="729259"/>
                </a:moveTo>
                <a:cubicBezTo>
                  <a:pt x="5545192" y="737036"/>
                  <a:pt x="5519054" y="747188"/>
                  <a:pt x="5493972" y="759595"/>
                </a:cubicBezTo>
                <a:cubicBezTo>
                  <a:pt x="5494205" y="764791"/>
                  <a:pt x="5494368" y="769940"/>
                  <a:pt x="5494368" y="775020"/>
                </a:cubicBezTo>
                <a:cubicBezTo>
                  <a:pt x="5494392" y="792418"/>
                  <a:pt x="5492980" y="809788"/>
                  <a:pt x="5490151" y="826955"/>
                </a:cubicBezTo>
                <a:cubicBezTo>
                  <a:pt x="5511419" y="819504"/>
                  <a:pt x="5533409" y="814303"/>
                  <a:pt x="5555763" y="811437"/>
                </a:cubicBezTo>
                <a:cubicBezTo>
                  <a:pt x="5563615" y="784580"/>
                  <a:pt x="5569074" y="757079"/>
                  <a:pt x="5572073" y="729259"/>
                </a:cubicBezTo>
                <a:close/>
                <a:moveTo>
                  <a:pt x="5241846" y="671034"/>
                </a:moveTo>
                <a:cubicBezTo>
                  <a:pt x="5235121" y="698194"/>
                  <a:pt x="5230824" y="725898"/>
                  <a:pt x="5229008" y="753818"/>
                </a:cubicBezTo>
                <a:cubicBezTo>
                  <a:pt x="5249026" y="764203"/>
                  <a:pt x="5267914" y="776633"/>
                  <a:pt x="5285370" y="790911"/>
                </a:cubicBezTo>
                <a:cubicBezTo>
                  <a:pt x="5289562" y="768741"/>
                  <a:pt x="5296060" y="747073"/>
                  <a:pt x="5304755" y="726254"/>
                </a:cubicBezTo>
                <a:cubicBezTo>
                  <a:pt x="5285445" y="706040"/>
                  <a:pt x="5264393" y="687560"/>
                  <a:pt x="5241846" y="671034"/>
                </a:cubicBezTo>
                <a:close/>
                <a:moveTo>
                  <a:pt x="5471325" y="671008"/>
                </a:moveTo>
                <a:cubicBezTo>
                  <a:pt x="5448752" y="687558"/>
                  <a:pt x="5427663" y="706041"/>
                  <a:pt x="5408299" y="726252"/>
                </a:cubicBezTo>
                <a:cubicBezTo>
                  <a:pt x="5416992" y="747072"/>
                  <a:pt x="5423495" y="768741"/>
                  <a:pt x="5427708" y="790908"/>
                </a:cubicBezTo>
                <a:cubicBezTo>
                  <a:pt x="5445166" y="776623"/>
                  <a:pt x="5464062" y="764191"/>
                  <a:pt x="5484093" y="753815"/>
                </a:cubicBezTo>
                <a:cubicBezTo>
                  <a:pt x="5482287" y="725891"/>
                  <a:pt x="5478014" y="698180"/>
                  <a:pt x="5471325" y="671008"/>
                </a:cubicBezTo>
                <a:close/>
                <a:moveTo>
                  <a:pt x="5356504" y="650809"/>
                </a:moveTo>
                <a:cubicBezTo>
                  <a:pt x="5340926" y="674047"/>
                  <a:pt x="5327415" y="698606"/>
                  <a:pt x="5316126" y="724203"/>
                </a:cubicBezTo>
                <a:cubicBezTo>
                  <a:pt x="5331399" y="740809"/>
                  <a:pt x="5344908" y="758955"/>
                  <a:pt x="5356435" y="778352"/>
                </a:cubicBezTo>
                <a:cubicBezTo>
                  <a:pt x="5367977" y="758962"/>
                  <a:pt x="5381493" y="740814"/>
                  <a:pt x="5396766" y="724203"/>
                </a:cubicBezTo>
                <a:cubicBezTo>
                  <a:pt x="5385531" y="698601"/>
                  <a:pt x="5372057" y="674042"/>
                  <a:pt x="5356504" y="650809"/>
                </a:cubicBezTo>
                <a:close/>
                <a:moveTo>
                  <a:pt x="5631650" y="502902"/>
                </a:moveTo>
                <a:cubicBezTo>
                  <a:pt x="5657606" y="502902"/>
                  <a:pt x="5663920" y="524874"/>
                  <a:pt x="5663920" y="545890"/>
                </a:cubicBezTo>
                <a:cubicBezTo>
                  <a:pt x="5663920" y="554302"/>
                  <a:pt x="5662755" y="571124"/>
                  <a:pt x="5654344" y="582564"/>
                </a:cubicBezTo>
                <a:cubicBezTo>
                  <a:pt x="5646865" y="592863"/>
                  <a:pt x="5635169" y="594028"/>
                  <a:pt x="5629577" y="594028"/>
                </a:cubicBezTo>
                <a:cubicBezTo>
                  <a:pt x="5598821" y="594028"/>
                  <a:pt x="5596701" y="564740"/>
                  <a:pt x="5596701" y="550574"/>
                </a:cubicBezTo>
                <a:cubicBezTo>
                  <a:pt x="5596701" y="540042"/>
                  <a:pt x="5596701" y="502902"/>
                  <a:pt x="5631650" y="502902"/>
                </a:cubicBezTo>
                <a:close/>
                <a:moveTo>
                  <a:pt x="5502849" y="500457"/>
                </a:moveTo>
                <a:cubicBezTo>
                  <a:pt x="5533395" y="500340"/>
                  <a:pt x="5535725" y="534218"/>
                  <a:pt x="5535725" y="545891"/>
                </a:cubicBezTo>
                <a:cubicBezTo>
                  <a:pt x="5535725" y="565044"/>
                  <a:pt x="5528945" y="591442"/>
                  <a:pt x="5501847" y="591442"/>
                </a:cubicBezTo>
                <a:cubicBezTo>
                  <a:pt x="5469228" y="591442"/>
                  <a:pt x="5469228" y="554768"/>
                  <a:pt x="5469228" y="547056"/>
                </a:cubicBezTo>
                <a:cubicBezTo>
                  <a:pt x="5469228" y="539344"/>
                  <a:pt x="5469228" y="500457"/>
                  <a:pt x="5502849" y="500457"/>
                </a:cubicBezTo>
                <a:close/>
                <a:moveTo>
                  <a:pt x="5637731" y="486546"/>
                </a:moveTo>
                <a:cubicBezTo>
                  <a:pt x="5628155" y="486546"/>
                  <a:pt x="5608747" y="489342"/>
                  <a:pt x="5597796" y="507795"/>
                </a:cubicBezTo>
                <a:lnTo>
                  <a:pt x="5597143" y="488433"/>
                </a:lnTo>
                <a:lnTo>
                  <a:pt x="5574962" y="488433"/>
                </a:lnTo>
                <a:cubicBezTo>
                  <a:pt x="5575428" y="499640"/>
                  <a:pt x="5575661" y="502413"/>
                  <a:pt x="5575661" y="507562"/>
                </a:cubicBezTo>
                <a:lnTo>
                  <a:pt x="5575731" y="650763"/>
                </a:lnTo>
                <a:lnTo>
                  <a:pt x="5597470" y="650763"/>
                </a:lnTo>
                <a:lnTo>
                  <a:pt x="5597470" y="592700"/>
                </a:lnTo>
                <a:cubicBezTo>
                  <a:pt x="5603737" y="602975"/>
                  <a:pt x="5616366" y="610198"/>
                  <a:pt x="5633421" y="610198"/>
                </a:cubicBezTo>
                <a:cubicBezTo>
                  <a:pt x="5661381" y="610198"/>
                  <a:pt x="5687010" y="591045"/>
                  <a:pt x="5687010" y="547288"/>
                </a:cubicBezTo>
                <a:cubicBezTo>
                  <a:pt x="5687010" y="503532"/>
                  <a:pt x="5662965" y="486546"/>
                  <a:pt x="5637731" y="486546"/>
                </a:cubicBezTo>
                <a:close/>
                <a:moveTo>
                  <a:pt x="5447652" y="443582"/>
                </a:moveTo>
                <a:lnTo>
                  <a:pt x="5447652" y="584685"/>
                </a:lnTo>
                <a:lnTo>
                  <a:pt x="5447163" y="605655"/>
                </a:lnTo>
                <a:lnTo>
                  <a:pt x="5468412" y="605655"/>
                </a:lnTo>
                <a:lnTo>
                  <a:pt x="5468995" y="588040"/>
                </a:lnTo>
                <a:cubicBezTo>
                  <a:pt x="5471884" y="592811"/>
                  <a:pt x="5475801" y="596879"/>
                  <a:pt x="5480458" y="599947"/>
                </a:cubicBezTo>
                <a:cubicBezTo>
                  <a:pt x="5488226" y="605003"/>
                  <a:pt x="5497334" y="607608"/>
                  <a:pt x="5506601" y="607426"/>
                </a:cubicBezTo>
                <a:cubicBezTo>
                  <a:pt x="5522724" y="607426"/>
                  <a:pt x="5538381" y="600646"/>
                  <a:pt x="5547748" y="587341"/>
                </a:cubicBezTo>
                <a:cubicBezTo>
                  <a:pt x="5553596" y="579629"/>
                  <a:pt x="5558955" y="567234"/>
                  <a:pt x="5558955" y="544563"/>
                </a:cubicBezTo>
                <a:cubicBezTo>
                  <a:pt x="5558955" y="518933"/>
                  <a:pt x="5551010" y="507283"/>
                  <a:pt x="5545162" y="500433"/>
                </a:cubicBezTo>
                <a:cubicBezTo>
                  <a:pt x="5534420" y="488271"/>
                  <a:pt x="5519695" y="485475"/>
                  <a:pt x="5508022" y="485475"/>
                </a:cubicBezTo>
                <a:cubicBezTo>
                  <a:pt x="5481390" y="485475"/>
                  <a:pt x="5472723" y="500200"/>
                  <a:pt x="5469717" y="505559"/>
                </a:cubicBezTo>
                <a:lnTo>
                  <a:pt x="5469624" y="443582"/>
                </a:lnTo>
                <a:close/>
                <a:moveTo>
                  <a:pt x="0" y="0"/>
                </a:moveTo>
                <a:lnTo>
                  <a:pt x="6096000" y="0"/>
                </a:lnTo>
                <a:lnTo>
                  <a:pt x="6096000" y="6857994"/>
                </a:lnTo>
                <a:lnTo>
                  <a:pt x="0" y="6857994"/>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13" name="Text Placeholder 9">
            <a:extLst>
              <a:ext uri="{FF2B5EF4-FFF2-40B4-BE49-F238E27FC236}">
                <a16:creationId xmlns:a16="http://schemas.microsoft.com/office/drawing/2014/main" id="{A636FEF8-F129-4731-99C0-AC0EFAB0586A}"/>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4" name="Text Placeholder 9">
            <a:extLst>
              <a:ext uri="{FF2B5EF4-FFF2-40B4-BE49-F238E27FC236}">
                <a16:creationId xmlns:a16="http://schemas.microsoft.com/office/drawing/2014/main" id="{45DA7DDF-7044-495F-BABB-4F57614F2670}"/>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7" name="Graphic 6">
            <a:extLst>
              <a:ext uri="{FF2B5EF4-FFF2-40B4-BE49-F238E27FC236}">
                <a16:creationId xmlns:a16="http://schemas.microsoft.com/office/drawing/2014/main" id="{6CCB4645-1720-4467-86F7-867CD7855B0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7988" y="6174856"/>
            <a:ext cx="944562" cy="450814"/>
          </a:xfrm>
          <a:prstGeom prst="rect">
            <a:avLst/>
          </a:prstGeom>
        </p:spPr>
      </p:pic>
      <p:sp>
        <p:nvSpPr>
          <p:cNvPr id="8" name="Text Placeholder 9">
            <a:extLst>
              <a:ext uri="{FF2B5EF4-FFF2-40B4-BE49-F238E27FC236}">
                <a16:creationId xmlns:a16="http://schemas.microsoft.com/office/drawing/2014/main" id="{9239BD85-469B-44A2-9495-9691E4848430}"/>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accent5"/>
                </a:solidFill>
              </a:defRPr>
            </a:lvl1pPr>
            <a:lvl2pPr marL="0" indent="0">
              <a:lnSpc>
                <a:spcPct val="90000"/>
              </a:lnSpc>
              <a:spcBef>
                <a:spcPts val="500"/>
              </a:spcBef>
              <a:buNone/>
              <a:defRPr sz="4800">
                <a:solidFill>
                  <a:schemeClr val="accent1"/>
                </a:solidFill>
                <a:latin typeface="+mn-lt"/>
              </a:defRPr>
            </a:lvl2pPr>
            <a:lvl3pPr marL="0" indent="0">
              <a:lnSpc>
                <a:spcPct val="90000"/>
              </a:lnSpc>
              <a:buNone/>
              <a:defRPr sz="4800">
                <a:solidFill>
                  <a:schemeClr val="accent5"/>
                </a:solidFill>
              </a:defRPr>
            </a:lvl3pPr>
            <a:lvl4pPr marL="0" indent="0">
              <a:lnSpc>
                <a:spcPct val="90000"/>
              </a:lnSpc>
              <a:buFont typeface="Arial" panose="020B0604020202020204" pitchFamily="34" charset="0"/>
              <a:buNone/>
              <a:defRPr sz="4800">
                <a:solidFill>
                  <a:schemeClr val="accent5"/>
                </a:solidFill>
              </a:defRPr>
            </a:lvl4pPr>
            <a:lvl5pPr marL="0" indent="0">
              <a:lnSpc>
                <a:spcPct val="90000"/>
              </a:lnSpc>
              <a:buFont typeface="Arial" panose="020B0604020202020204" pitchFamily="34" charset="0"/>
              <a:buNone/>
              <a:defRPr sz="4800">
                <a:solidFill>
                  <a:schemeClr val="accent5"/>
                </a:solidFill>
              </a:defRPr>
            </a:lvl5pPr>
            <a:lvl6pPr>
              <a:defRPr sz="4800">
                <a:solidFill>
                  <a:schemeClr val="accent5"/>
                </a:solidFill>
              </a:defRPr>
            </a:lvl6pPr>
            <a:lvl7pPr>
              <a:defRPr sz="4800">
                <a:solidFill>
                  <a:schemeClr val="accent5"/>
                </a:solidFill>
              </a:defRPr>
            </a:lvl7pPr>
            <a:lvl8pPr>
              <a:defRPr sz="4800">
                <a:solidFill>
                  <a:schemeClr val="accent5"/>
                </a:solidFill>
              </a:defRPr>
            </a:lvl8pPr>
            <a:lvl9pPr>
              <a:defRPr sz="48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2327823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ark Text Charts and Image Grid 2">
    <p:bg>
      <p:bgPr>
        <a:solidFill>
          <a:schemeClr val="accent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Graphic BG Light Grey">
            <a:extLst>
              <a:ext uri="{FF2B5EF4-FFF2-40B4-BE49-F238E27FC236}">
                <a16:creationId xmlns:a16="http://schemas.microsoft.com/office/drawing/2014/main" id="{EEDED938-4D0D-4D13-B596-38A1B362A207}"/>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2458292D-CCDB-4282-B1ED-6265D5D5EED0}"/>
              </a:ext>
            </a:extLst>
          </p:cNvPr>
          <p:cNvSpPr>
            <a:spLocks noGrp="1"/>
          </p:cNvSpPr>
          <p:nvPr>
            <p:ph type="chart" sz="quarter" idx="17"/>
          </p:nvPr>
        </p:nvSpPr>
        <p:spPr>
          <a:xfrm>
            <a:off x="407988" y="3688550"/>
            <a:ext cx="2455200" cy="2084400"/>
          </a:xfrm>
        </p:spPr>
        <p:txBody>
          <a:bodyPr anchor="ctr">
            <a:normAutofit/>
          </a:bodyPr>
          <a:lstStyle>
            <a:lvl1pPr algn="ctr">
              <a:defRPr sz="1400"/>
            </a:lvl1pPr>
          </a:lstStyle>
          <a:p>
            <a:endParaRPr lang="en-GB"/>
          </a:p>
        </p:txBody>
      </p:sp>
      <p:sp>
        <p:nvSpPr>
          <p:cNvPr id="14" name="Chart Placeholder 12">
            <a:extLst>
              <a:ext uri="{FF2B5EF4-FFF2-40B4-BE49-F238E27FC236}">
                <a16:creationId xmlns:a16="http://schemas.microsoft.com/office/drawing/2014/main" id="{7946E977-5E7C-4221-A6E5-847061E99F3C}"/>
              </a:ext>
            </a:extLst>
          </p:cNvPr>
          <p:cNvSpPr>
            <a:spLocks noGrp="1"/>
          </p:cNvSpPr>
          <p:nvPr>
            <p:ph type="chart" sz="quarter" idx="18"/>
          </p:nvPr>
        </p:nvSpPr>
        <p:spPr>
          <a:xfrm>
            <a:off x="3252788" y="3688550"/>
            <a:ext cx="2455200" cy="2084400"/>
          </a:xfrm>
        </p:spPr>
        <p:txBody>
          <a:bodyPr anchor="ctr">
            <a:normAutofit/>
          </a:bodyPr>
          <a:lstStyle>
            <a:lvl1pPr algn="ctr">
              <a:defRPr sz="1400"/>
            </a:lvl1pPr>
          </a:lstStyle>
          <a:p>
            <a:endParaRPr lang="en-GB"/>
          </a:p>
        </p:txBody>
      </p:sp>
      <p:sp>
        <p:nvSpPr>
          <p:cNvPr id="17" name="Text Placeholder 2">
            <a:extLst>
              <a:ext uri="{FF2B5EF4-FFF2-40B4-BE49-F238E27FC236}">
                <a16:creationId xmlns:a16="http://schemas.microsoft.com/office/drawing/2014/main" id="{555C2AF8-810A-49B5-B822-5F40BA383720}"/>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accent5"/>
                </a:solidFill>
              </a:defRPr>
            </a:lvl1pPr>
            <a:lvl2pPr marL="0" indent="0">
              <a:buNone/>
              <a:defRPr sz="2400">
                <a:solidFill>
                  <a:schemeClr val="accent5"/>
                </a:solidFill>
              </a:defRPr>
            </a:lvl2pPr>
            <a:lvl3pPr marL="0" indent="0">
              <a:buNone/>
              <a:defRPr sz="2400">
                <a:solidFill>
                  <a:schemeClr val="accent5"/>
                </a:solidFill>
              </a:defRPr>
            </a:lvl3pPr>
            <a:lvl4pPr marL="0" indent="0">
              <a:buFont typeface="Arial" panose="020B0604020202020204" pitchFamily="34" charset="0"/>
              <a:buNone/>
              <a:defRPr sz="2400">
                <a:solidFill>
                  <a:schemeClr val="accent5"/>
                </a:solidFill>
              </a:defRPr>
            </a:lvl4pPr>
            <a:lvl5pPr marL="0" indent="0">
              <a:buFont typeface="Arial" panose="020B0604020202020204" pitchFamily="34" charset="0"/>
              <a:buNone/>
              <a:defRPr sz="2400">
                <a:solidFill>
                  <a:schemeClr val="accent5"/>
                </a:solidFill>
              </a:defRPr>
            </a:lvl5pPr>
            <a:lvl6pPr>
              <a:defRPr sz="2400">
                <a:solidFill>
                  <a:schemeClr val="accent5"/>
                </a:solidFill>
              </a:defRPr>
            </a:lvl6pPr>
            <a:lvl7pPr>
              <a:defRPr sz="2400">
                <a:solidFill>
                  <a:schemeClr val="accent5"/>
                </a:solidFill>
              </a:defRPr>
            </a:lvl7pPr>
            <a:lvl8pPr>
              <a:defRPr sz="2400">
                <a:solidFill>
                  <a:schemeClr val="accent5"/>
                </a:solidFill>
              </a:defRPr>
            </a:lvl8pPr>
            <a:lvl9pPr>
              <a:defRPr sz="2400">
                <a:solidFill>
                  <a:schemeClr val="accent5"/>
                </a:solidFill>
              </a:defRPr>
            </a:lvl9pPr>
          </a:lstStyle>
          <a:p>
            <a:pPr lvl="0"/>
            <a:r>
              <a:rPr lang="en-US"/>
              <a:t>Call out phrase or concluding sentence to go here</a:t>
            </a:r>
          </a:p>
        </p:txBody>
      </p:sp>
      <p:pic>
        <p:nvPicPr>
          <p:cNvPr id="16" name="Graphic 15">
            <a:extLst>
              <a:ext uri="{FF2B5EF4-FFF2-40B4-BE49-F238E27FC236}">
                <a16:creationId xmlns:a16="http://schemas.microsoft.com/office/drawing/2014/main" id="{42B613E0-7259-4364-A2E6-A518410BBA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45537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atistics Gri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5559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ext Placeholder 2">
            <a:extLst>
              <a:ext uri="{FF2B5EF4-FFF2-40B4-BE49-F238E27FC236}">
                <a16:creationId xmlns:a16="http://schemas.microsoft.com/office/drawing/2014/main" id="{A47057D6-20DB-4FA8-920B-CFCD9B78FB51}"/>
              </a:ext>
            </a:extLst>
          </p:cNvPr>
          <p:cNvSpPr>
            <a:spLocks noGrp="1"/>
          </p:cNvSpPr>
          <p:nvPr>
            <p:ph type="body" sz="quarter" idx="34" hasCustomPrompt="1"/>
          </p:nvPr>
        </p:nvSpPr>
        <p:spPr>
          <a:xfrm>
            <a:off x="9755187" y="3818963"/>
            <a:ext cx="2436813" cy="2213537"/>
          </a:xfrm>
          <a:solidFill>
            <a:srgbClr val="F7F7F7"/>
          </a:solidFill>
        </p:spPr>
        <p:txBody>
          <a:bodyPr lIns="180000" tIns="180000" rIns="180000" bIns="180000"/>
          <a:lstStyle>
            <a:lvl1pPr>
              <a:defRPr sz="1400">
                <a:solidFill>
                  <a:schemeClr val="accent5"/>
                </a:solidFill>
              </a:defRPr>
            </a:lvl1pPr>
            <a:lvl2pPr marL="0" indent="0">
              <a:buNone/>
              <a:defRPr sz="4800">
                <a:solidFill>
                  <a:schemeClr val="accent5"/>
                </a:solidFill>
              </a:defRPr>
            </a:lvl2pPr>
            <a:lvl3pPr marL="0" indent="0">
              <a:buNone/>
              <a:defRPr sz="1400">
                <a:solidFill>
                  <a:schemeClr val="accent5"/>
                </a:solidFill>
              </a:defRPr>
            </a:lvl3pPr>
            <a:lvl4pPr marL="0" indent="0">
              <a:buFont typeface="Arial" panose="020B0604020202020204" pitchFamily="34" charset="0"/>
              <a:buNone/>
              <a:defRPr sz="1400">
                <a:solidFill>
                  <a:schemeClr val="accent5"/>
                </a:solidFill>
              </a:defRPr>
            </a:lvl4pPr>
            <a:lvl5pPr marL="0" indent="0">
              <a:buFont typeface="Arial" panose="020B0604020202020204" pitchFamily="34" charset="0"/>
              <a:buNone/>
              <a:defRPr sz="1400">
                <a:solidFill>
                  <a:schemeClr val="accent5"/>
                </a:solidFill>
              </a:defRPr>
            </a:lvl5pPr>
            <a:lvl6pPr marL="0" indent="0">
              <a:buFont typeface="Arial" panose="020B0604020202020204" pitchFamily="34" charset="0"/>
              <a:buNone/>
              <a:defRPr sz="1400">
                <a:solidFill>
                  <a:schemeClr val="accent5"/>
                </a:solidFill>
              </a:defRPr>
            </a:lvl6pPr>
            <a:lvl7pPr marL="0" indent="0">
              <a:buFont typeface="Arial" panose="020B0604020202020204" pitchFamily="34" charset="0"/>
              <a:buNone/>
              <a:defRPr sz="1400">
                <a:solidFill>
                  <a:schemeClr val="accent5"/>
                </a:solidFill>
              </a:defRPr>
            </a:lvl7pPr>
            <a:lvl8pPr marL="0" indent="0">
              <a:buFont typeface="Arial" panose="020B0604020202020204" pitchFamily="34" charset="0"/>
              <a:buNone/>
              <a:defRPr sz="1400">
                <a:solidFill>
                  <a:schemeClr val="accent5"/>
                </a:solidFill>
              </a:defRPr>
            </a:lvl8pPr>
            <a:lvl9pPr marL="0" indent="0">
              <a:buFont typeface="Arial" panose="020B0604020202020204" pitchFamily="34" charset="0"/>
              <a:buNone/>
              <a:defRPr sz="1400">
                <a:solidFill>
                  <a:schemeClr val="accent5"/>
                </a:solidFill>
              </a:defRPr>
            </a:lvl9pPr>
          </a:lstStyle>
          <a:p>
            <a:pPr lvl="0"/>
            <a:r>
              <a:rPr lang="en-US"/>
              <a:t>Enter text here</a:t>
            </a:r>
          </a:p>
          <a:p>
            <a:pPr lvl="1"/>
            <a:r>
              <a:rPr lang="en-US"/>
              <a:t>##</a:t>
            </a:r>
          </a:p>
        </p:txBody>
      </p:sp>
      <p:sp>
        <p:nvSpPr>
          <p:cNvPr id="19" name="Text Placeholder 2">
            <a:extLst>
              <a:ext uri="{FF2B5EF4-FFF2-40B4-BE49-F238E27FC236}">
                <a16:creationId xmlns:a16="http://schemas.microsoft.com/office/drawing/2014/main" id="{152A8101-CD59-42B5-BDC3-4974AE85CF67}"/>
              </a:ext>
            </a:extLst>
          </p:cNvPr>
          <p:cNvSpPr>
            <a:spLocks noGrp="1"/>
          </p:cNvSpPr>
          <p:nvPr>
            <p:ph type="body" sz="quarter" idx="33" hasCustomPrompt="1"/>
          </p:nvPr>
        </p:nvSpPr>
        <p:spPr>
          <a:xfrm>
            <a:off x="0" y="3818963"/>
            <a:ext cx="2436813" cy="2213537"/>
          </a:xfrm>
          <a:solidFill>
            <a:srgbClr val="F7F7F7"/>
          </a:solidFill>
        </p:spPr>
        <p:txBody>
          <a:bodyPr lIns="180000" tIns="180000" rIns="180000" bIns="180000"/>
          <a:lstStyle>
            <a:lvl1pPr>
              <a:defRPr sz="1400">
                <a:solidFill>
                  <a:schemeClr val="accent5"/>
                </a:solidFill>
              </a:defRPr>
            </a:lvl1pPr>
            <a:lvl2pPr marL="0" indent="0">
              <a:buNone/>
              <a:defRPr sz="4800">
                <a:solidFill>
                  <a:schemeClr val="accent5"/>
                </a:solidFill>
              </a:defRPr>
            </a:lvl2pPr>
            <a:lvl3pPr marL="0" indent="0">
              <a:buNone/>
              <a:defRPr sz="1400">
                <a:solidFill>
                  <a:schemeClr val="accent5"/>
                </a:solidFill>
              </a:defRPr>
            </a:lvl3pPr>
            <a:lvl4pPr marL="0" indent="0">
              <a:buFont typeface="Arial" panose="020B0604020202020204" pitchFamily="34" charset="0"/>
              <a:buNone/>
              <a:defRPr sz="1400">
                <a:solidFill>
                  <a:schemeClr val="accent5"/>
                </a:solidFill>
              </a:defRPr>
            </a:lvl4pPr>
            <a:lvl5pPr marL="0" indent="0">
              <a:buFont typeface="Arial" panose="020B0604020202020204" pitchFamily="34" charset="0"/>
              <a:buNone/>
              <a:defRPr sz="1400">
                <a:solidFill>
                  <a:schemeClr val="accent5"/>
                </a:solidFill>
              </a:defRPr>
            </a:lvl5pPr>
            <a:lvl6pPr marL="0" indent="0">
              <a:buFont typeface="Arial" panose="020B0604020202020204" pitchFamily="34" charset="0"/>
              <a:buNone/>
              <a:defRPr sz="1400">
                <a:solidFill>
                  <a:schemeClr val="accent5"/>
                </a:solidFill>
              </a:defRPr>
            </a:lvl6pPr>
            <a:lvl7pPr marL="0" indent="0">
              <a:buFont typeface="Arial" panose="020B0604020202020204" pitchFamily="34" charset="0"/>
              <a:buNone/>
              <a:defRPr sz="1400">
                <a:solidFill>
                  <a:schemeClr val="accent5"/>
                </a:solidFill>
              </a:defRPr>
            </a:lvl7pPr>
            <a:lvl8pPr marL="0" indent="0">
              <a:buFont typeface="Arial" panose="020B0604020202020204" pitchFamily="34" charset="0"/>
              <a:buNone/>
              <a:defRPr sz="1400">
                <a:solidFill>
                  <a:schemeClr val="accent5"/>
                </a:solidFill>
              </a:defRPr>
            </a:lvl8pPr>
            <a:lvl9pPr marL="0" indent="0">
              <a:buFont typeface="Arial" panose="020B0604020202020204" pitchFamily="34" charset="0"/>
              <a:buNone/>
              <a:defRPr sz="1400">
                <a:solidFill>
                  <a:schemeClr val="accent5"/>
                </a:solidFill>
              </a:defRPr>
            </a:lvl9pPr>
          </a:lstStyle>
          <a:p>
            <a:pPr lvl="0"/>
            <a:r>
              <a:rPr lang="en-US"/>
              <a:t>Enter text here</a:t>
            </a:r>
          </a:p>
          <a:p>
            <a:pPr lvl="1"/>
            <a:r>
              <a:rPr lang="en-US"/>
              <a:t>##</a:t>
            </a:r>
          </a:p>
        </p:txBody>
      </p:sp>
      <p:sp>
        <p:nvSpPr>
          <p:cNvPr id="31" name="Text Placeholder 2">
            <a:extLst>
              <a:ext uri="{FF2B5EF4-FFF2-40B4-BE49-F238E27FC236}">
                <a16:creationId xmlns:a16="http://schemas.microsoft.com/office/drawing/2014/main" id="{54512AD7-9BBF-44D6-9B28-7739E38FE5CC}"/>
              </a:ext>
            </a:extLst>
          </p:cNvPr>
          <p:cNvSpPr>
            <a:spLocks noGrp="1"/>
          </p:cNvSpPr>
          <p:nvPr>
            <p:ph type="body" sz="quarter" idx="27" hasCustomPrompt="1"/>
          </p:nvPr>
        </p:nvSpPr>
        <p:spPr>
          <a:xfrm>
            <a:off x="4877594" y="1604963"/>
            <a:ext cx="2436813" cy="2213537"/>
          </a:xfrm>
          <a:solidFill>
            <a:schemeClr val="accent6"/>
          </a:solidFill>
        </p:spPr>
        <p:txBody>
          <a:bodyPr lIns="180000" tIns="180000" rIns="180000" bIns="180000"/>
          <a:lstStyle>
            <a:lvl1pPr>
              <a:defRPr sz="1400">
                <a:solidFill>
                  <a:schemeClr val="tx1"/>
                </a:solidFill>
              </a:defRPr>
            </a:lvl1pPr>
            <a:lvl2pPr marL="0" indent="0">
              <a:buNone/>
              <a:defRPr sz="4800">
                <a:solidFill>
                  <a:schemeClr val="tx1"/>
                </a:solidFill>
              </a:defRPr>
            </a:lvl2pPr>
            <a:lvl3pPr marL="0" indent="0">
              <a:buNone/>
              <a:defRPr sz="1400">
                <a:solidFill>
                  <a:schemeClr val="tx1"/>
                </a:solidFill>
              </a:defRPr>
            </a:lvl3pPr>
            <a:lvl4pPr marL="0" indent="0">
              <a:buFont typeface="Arial" panose="020B0604020202020204" pitchFamily="34" charset="0"/>
              <a:buNone/>
              <a:defRPr sz="1400">
                <a:solidFill>
                  <a:schemeClr val="tx1"/>
                </a:solidFill>
              </a:defRPr>
            </a:lvl4pPr>
            <a:lvl5pPr marL="0" indent="0">
              <a:buFont typeface="Arial" panose="020B0604020202020204" pitchFamily="34" charset="0"/>
              <a:buNone/>
              <a:defRPr sz="1400">
                <a:solidFill>
                  <a:schemeClr val="tx1"/>
                </a:solidFill>
              </a:defRPr>
            </a:lvl5pPr>
            <a:lvl6pPr marL="0" indent="0">
              <a:buFont typeface="Arial" panose="020B0604020202020204" pitchFamily="34" charset="0"/>
              <a:buNone/>
              <a:defRPr sz="1400">
                <a:solidFill>
                  <a:schemeClr val="tx1"/>
                </a:solidFill>
              </a:defRPr>
            </a:lvl6pPr>
            <a:lvl7pPr marL="0" indent="0">
              <a:buFont typeface="Arial" panose="020B0604020202020204" pitchFamily="34" charset="0"/>
              <a:buNone/>
              <a:defRPr sz="1400">
                <a:solidFill>
                  <a:schemeClr val="tx1"/>
                </a:solidFill>
              </a:defRPr>
            </a:lvl7pPr>
            <a:lvl8pPr marL="0" indent="0">
              <a:buFont typeface="Arial" panose="020B0604020202020204" pitchFamily="34" charset="0"/>
              <a:buNone/>
              <a:defRPr sz="1400">
                <a:solidFill>
                  <a:schemeClr val="tx1"/>
                </a:solidFill>
              </a:defRPr>
            </a:lvl8pPr>
            <a:lvl9pPr marL="0" indent="0">
              <a:buFont typeface="Arial" panose="020B0604020202020204" pitchFamily="34" charset="0"/>
              <a:buNone/>
              <a:defRPr sz="1400">
                <a:solidFill>
                  <a:schemeClr val="tx1"/>
                </a:solidFill>
              </a:defRPr>
            </a:lvl9pPr>
          </a:lstStyle>
          <a:p>
            <a:pPr lvl="0"/>
            <a:r>
              <a:rPr lang="en-US"/>
              <a:t>Enter text here</a:t>
            </a:r>
          </a:p>
          <a:p>
            <a:pPr lvl="1"/>
            <a:r>
              <a:rPr lang="en-US"/>
              <a:t>##</a:t>
            </a:r>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2" name="Picture Placeholder 31">
            <a:extLst>
              <a:ext uri="{FF2B5EF4-FFF2-40B4-BE49-F238E27FC236}">
                <a16:creationId xmlns:a16="http://schemas.microsoft.com/office/drawing/2014/main" id="{030E47BF-A8C4-43DE-BDAF-05F624CDCE9C}"/>
              </a:ext>
            </a:extLst>
          </p:cNvPr>
          <p:cNvSpPr>
            <a:spLocks noGrp="1"/>
          </p:cNvSpPr>
          <p:nvPr>
            <p:ph type="pic" sz="quarter" idx="23"/>
          </p:nvPr>
        </p:nvSpPr>
        <p:spPr>
          <a:xfrm>
            <a:off x="2436813" y="3817938"/>
            <a:ext cx="2436812" cy="2214562"/>
          </a:xfrm>
          <a:solidFill>
            <a:schemeClr val="bg2"/>
          </a:solidFill>
        </p:spPr>
        <p:txBody>
          <a:bodyPr anchor="ctr">
            <a:normAutofit/>
          </a:bodyPr>
          <a:lstStyle>
            <a:lvl1pPr algn="ctr">
              <a:defRPr sz="1400"/>
            </a:lvl1pPr>
          </a:lstStyle>
          <a:p>
            <a:endParaRPr lang="en-GB"/>
          </a:p>
        </p:txBody>
      </p:sp>
      <p:sp>
        <p:nvSpPr>
          <p:cNvPr id="33" name="Picture Placeholder 31">
            <a:extLst>
              <a:ext uri="{FF2B5EF4-FFF2-40B4-BE49-F238E27FC236}">
                <a16:creationId xmlns:a16="http://schemas.microsoft.com/office/drawing/2014/main" id="{7BB388CA-FFF5-4962-A098-9256A8D4A067}"/>
              </a:ext>
            </a:extLst>
          </p:cNvPr>
          <p:cNvSpPr>
            <a:spLocks noGrp="1"/>
          </p:cNvSpPr>
          <p:nvPr>
            <p:ph type="pic" sz="quarter" idx="24"/>
          </p:nvPr>
        </p:nvSpPr>
        <p:spPr>
          <a:xfrm>
            <a:off x="7316488" y="3817938"/>
            <a:ext cx="2436812" cy="2214562"/>
          </a:xfrm>
          <a:solidFill>
            <a:schemeClr val="bg2"/>
          </a:solidFill>
        </p:spPr>
        <p:txBody>
          <a:bodyPr anchor="ctr">
            <a:normAutofit/>
          </a:bodyPr>
          <a:lstStyle>
            <a:lvl1pPr algn="ctr">
              <a:defRPr sz="1400"/>
            </a:lvl1pPr>
          </a:lstStyle>
          <a:p>
            <a:endParaRPr lang="en-GB"/>
          </a:p>
        </p:txBody>
      </p:sp>
      <p:sp>
        <p:nvSpPr>
          <p:cNvPr id="20" name="Text Placeholder 2">
            <a:extLst>
              <a:ext uri="{FF2B5EF4-FFF2-40B4-BE49-F238E27FC236}">
                <a16:creationId xmlns:a16="http://schemas.microsoft.com/office/drawing/2014/main" id="{BECAE398-124A-4621-AFE6-7665A9B634DE}"/>
              </a:ext>
            </a:extLst>
          </p:cNvPr>
          <p:cNvSpPr>
            <a:spLocks noGrp="1"/>
          </p:cNvSpPr>
          <p:nvPr>
            <p:ph type="body" sz="quarter" idx="15" hasCustomPrompt="1"/>
          </p:nvPr>
        </p:nvSpPr>
        <p:spPr>
          <a:xfrm>
            <a:off x="0" y="1604963"/>
            <a:ext cx="2436813" cy="2213537"/>
          </a:xfrm>
          <a:solidFill>
            <a:schemeClr val="accent1"/>
          </a:solidFill>
        </p:spPr>
        <p:txBody>
          <a:bodyPr lIns="180000" tIns="180000" rIns="180000" bIns="180000"/>
          <a:lstStyle>
            <a:lvl1pPr>
              <a:defRPr sz="1400">
                <a:solidFill>
                  <a:schemeClr val="bg1"/>
                </a:solidFill>
              </a:defRPr>
            </a:lvl1pPr>
            <a:lvl2pPr marL="0" indent="0">
              <a:buNone/>
              <a:defRPr sz="48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r>
              <a:rPr lang="en-US"/>
              <a:t>##</a:t>
            </a:r>
          </a:p>
        </p:txBody>
      </p:sp>
      <p:sp>
        <p:nvSpPr>
          <p:cNvPr id="21" name="Text Placeholder 2">
            <a:extLst>
              <a:ext uri="{FF2B5EF4-FFF2-40B4-BE49-F238E27FC236}">
                <a16:creationId xmlns:a16="http://schemas.microsoft.com/office/drawing/2014/main" id="{019924FC-044E-4386-A851-5B8AB8F1D266}"/>
              </a:ext>
            </a:extLst>
          </p:cNvPr>
          <p:cNvSpPr>
            <a:spLocks noGrp="1"/>
          </p:cNvSpPr>
          <p:nvPr>
            <p:ph type="body" sz="quarter" idx="25" hasCustomPrompt="1"/>
          </p:nvPr>
        </p:nvSpPr>
        <p:spPr>
          <a:xfrm>
            <a:off x="9755187" y="1604963"/>
            <a:ext cx="2436813" cy="2213537"/>
          </a:xfrm>
          <a:solidFill>
            <a:schemeClr val="accent1"/>
          </a:solidFill>
        </p:spPr>
        <p:txBody>
          <a:bodyPr lIns="180000" tIns="180000" rIns="180000" bIns="180000"/>
          <a:lstStyle>
            <a:lvl1pPr>
              <a:defRPr sz="1400">
                <a:solidFill>
                  <a:schemeClr val="bg1"/>
                </a:solidFill>
              </a:defRPr>
            </a:lvl1pPr>
            <a:lvl2pPr marL="0" indent="0">
              <a:buNone/>
              <a:defRPr sz="48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r>
              <a:rPr lang="en-US"/>
              <a:t>##</a:t>
            </a:r>
          </a:p>
          <a:p>
            <a:pPr lvl="2"/>
            <a:endParaRPr lang="en-US"/>
          </a:p>
        </p:txBody>
      </p:sp>
      <p:sp>
        <p:nvSpPr>
          <p:cNvPr id="29" name="Text Placeholder 2">
            <a:extLst>
              <a:ext uri="{FF2B5EF4-FFF2-40B4-BE49-F238E27FC236}">
                <a16:creationId xmlns:a16="http://schemas.microsoft.com/office/drawing/2014/main" id="{76E95E8C-7C68-47FB-A65D-FB98A6DB887B}"/>
              </a:ext>
            </a:extLst>
          </p:cNvPr>
          <p:cNvSpPr>
            <a:spLocks noGrp="1"/>
          </p:cNvSpPr>
          <p:nvPr>
            <p:ph type="body" sz="quarter" idx="26" hasCustomPrompt="1"/>
          </p:nvPr>
        </p:nvSpPr>
        <p:spPr>
          <a:xfrm>
            <a:off x="4877787" y="3818963"/>
            <a:ext cx="2436813" cy="2213537"/>
          </a:xfrm>
          <a:solidFill>
            <a:schemeClr val="accent1"/>
          </a:solidFill>
        </p:spPr>
        <p:txBody>
          <a:bodyPr lIns="180000" tIns="180000" rIns="180000" bIns="180000"/>
          <a:lstStyle>
            <a:lvl1pPr>
              <a:defRPr sz="1400">
                <a:solidFill>
                  <a:schemeClr val="bg1"/>
                </a:solidFill>
              </a:defRPr>
            </a:lvl1pPr>
            <a:lvl2pPr marL="0" indent="0">
              <a:buNone/>
              <a:defRPr sz="48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r>
              <a:rPr lang="en-US"/>
              <a:t>##</a:t>
            </a:r>
          </a:p>
          <a:p>
            <a:pPr lvl="2"/>
            <a:endParaRPr lang="en-US"/>
          </a:p>
        </p:txBody>
      </p:sp>
      <p:sp>
        <p:nvSpPr>
          <p:cNvPr id="41" name="Text Placeholder 2">
            <a:extLst>
              <a:ext uri="{FF2B5EF4-FFF2-40B4-BE49-F238E27FC236}">
                <a16:creationId xmlns:a16="http://schemas.microsoft.com/office/drawing/2014/main" id="{B55C8CA7-336F-4302-88DA-3E1DA74E891E}"/>
              </a:ext>
            </a:extLst>
          </p:cNvPr>
          <p:cNvSpPr>
            <a:spLocks noGrp="1"/>
          </p:cNvSpPr>
          <p:nvPr>
            <p:ph type="body" sz="quarter" idx="31" hasCustomPrompt="1"/>
          </p:nvPr>
        </p:nvSpPr>
        <p:spPr>
          <a:xfrm>
            <a:off x="2438700" y="1604963"/>
            <a:ext cx="2436813" cy="2213537"/>
          </a:xfrm>
          <a:solidFill>
            <a:srgbClr val="F7F7F7"/>
          </a:solidFill>
        </p:spPr>
        <p:txBody>
          <a:bodyPr lIns="180000" tIns="180000" rIns="180000" bIns="180000"/>
          <a:lstStyle>
            <a:lvl1pPr>
              <a:defRPr sz="1400">
                <a:solidFill>
                  <a:schemeClr val="accent5"/>
                </a:solidFill>
              </a:defRPr>
            </a:lvl1pPr>
            <a:lvl2pPr marL="0" indent="0">
              <a:buNone/>
              <a:defRPr sz="4800">
                <a:solidFill>
                  <a:schemeClr val="accent5"/>
                </a:solidFill>
              </a:defRPr>
            </a:lvl2pPr>
            <a:lvl3pPr marL="0" indent="0">
              <a:buNone/>
              <a:defRPr sz="1400">
                <a:solidFill>
                  <a:schemeClr val="accent5"/>
                </a:solidFill>
              </a:defRPr>
            </a:lvl3pPr>
            <a:lvl4pPr marL="0" indent="0">
              <a:buFont typeface="Arial" panose="020B0604020202020204" pitchFamily="34" charset="0"/>
              <a:buNone/>
              <a:defRPr sz="1400">
                <a:solidFill>
                  <a:schemeClr val="accent5"/>
                </a:solidFill>
              </a:defRPr>
            </a:lvl4pPr>
            <a:lvl5pPr marL="0" indent="0">
              <a:buFont typeface="Arial" panose="020B0604020202020204" pitchFamily="34" charset="0"/>
              <a:buNone/>
              <a:defRPr sz="1400">
                <a:solidFill>
                  <a:schemeClr val="accent5"/>
                </a:solidFill>
              </a:defRPr>
            </a:lvl5pPr>
            <a:lvl6pPr marL="0" indent="0">
              <a:buFont typeface="Arial" panose="020B0604020202020204" pitchFamily="34" charset="0"/>
              <a:buNone/>
              <a:defRPr sz="1400">
                <a:solidFill>
                  <a:schemeClr val="accent5"/>
                </a:solidFill>
              </a:defRPr>
            </a:lvl6pPr>
            <a:lvl7pPr marL="0" indent="0">
              <a:buFont typeface="Arial" panose="020B0604020202020204" pitchFamily="34" charset="0"/>
              <a:buNone/>
              <a:defRPr sz="1400">
                <a:solidFill>
                  <a:schemeClr val="accent5"/>
                </a:solidFill>
              </a:defRPr>
            </a:lvl7pPr>
            <a:lvl8pPr marL="0" indent="0">
              <a:buFont typeface="Arial" panose="020B0604020202020204" pitchFamily="34" charset="0"/>
              <a:buNone/>
              <a:defRPr sz="1400">
                <a:solidFill>
                  <a:schemeClr val="accent5"/>
                </a:solidFill>
              </a:defRPr>
            </a:lvl8pPr>
            <a:lvl9pPr marL="0" indent="0">
              <a:buFont typeface="Arial" panose="020B0604020202020204" pitchFamily="34" charset="0"/>
              <a:buNone/>
              <a:defRPr sz="1400">
                <a:solidFill>
                  <a:schemeClr val="accent5"/>
                </a:solidFill>
              </a:defRPr>
            </a:lvl9pPr>
          </a:lstStyle>
          <a:p>
            <a:pPr lvl="0"/>
            <a:r>
              <a:rPr lang="en-US"/>
              <a:t>Enter text here</a:t>
            </a:r>
          </a:p>
          <a:p>
            <a:pPr lvl="1"/>
            <a:r>
              <a:rPr lang="en-US"/>
              <a:t>##</a:t>
            </a:r>
          </a:p>
        </p:txBody>
      </p:sp>
      <p:sp>
        <p:nvSpPr>
          <p:cNvPr id="17" name="Text Placeholder 2">
            <a:extLst>
              <a:ext uri="{FF2B5EF4-FFF2-40B4-BE49-F238E27FC236}">
                <a16:creationId xmlns:a16="http://schemas.microsoft.com/office/drawing/2014/main" id="{C06FCB6B-5E96-45AF-9690-015B6936B2AF}"/>
              </a:ext>
            </a:extLst>
          </p:cNvPr>
          <p:cNvSpPr>
            <a:spLocks noGrp="1"/>
          </p:cNvSpPr>
          <p:nvPr>
            <p:ph type="body" sz="quarter" idx="32" hasCustomPrompt="1"/>
          </p:nvPr>
        </p:nvSpPr>
        <p:spPr>
          <a:xfrm>
            <a:off x="7316487" y="1604963"/>
            <a:ext cx="2436813" cy="2213537"/>
          </a:xfrm>
          <a:solidFill>
            <a:srgbClr val="F7F7F7"/>
          </a:solidFill>
        </p:spPr>
        <p:txBody>
          <a:bodyPr lIns="180000" tIns="180000" rIns="180000" bIns="180000"/>
          <a:lstStyle>
            <a:lvl1pPr>
              <a:defRPr sz="1400">
                <a:solidFill>
                  <a:schemeClr val="accent5"/>
                </a:solidFill>
              </a:defRPr>
            </a:lvl1pPr>
            <a:lvl2pPr marL="0" indent="0">
              <a:buNone/>
              <a:defRPr sz="4800">
                <a:solidFill>
                  <a:schemeClr val="accent5"/>
                </a:solidFill>
              </a:defRPr>
            </a:lvl2pPr>
            <a:lvl3pPr marL="0" indent="0">
              <a:buNone/>
              <a:defRPr sz="1400">
                <a:solidFill>
                  <a:schemeClr val="accent5"/>
                </a:solidFill>
              </a:defRPr>
            </a:lvl3pPr>
            <a:lvl4pPr marL="0" indent="0">
              <a:buFont typeface="Arial" panose="020B0604020202020204" pitchFamily="34" charset="0"/>
              <a:buNone/>
              <a:defRPr sz="1400">
                <a:solidFill>
                  <a:schemeClr val="accent5"/>
                </a:solidFill>
              </a:defRPr>
            </a:lvl4pPr>
            <a:lvl5pPr marL="0" indent="0">
              <a:buFont typeface="Arial" panose="020B0604020202020204" pitchFamily="34" charset="0"/>
              <a:buNone/>
              <a:defRPr sz="1400">
                <a:solidFill>
                  <a:schemeClr val="accent5"/>
                </a:solidFill>
              </a:defRPr>
            </a:lvl5pPr>
            <a:lvl6pPr marL="0" indent="0">
              <a:buFont typeface="Arial" panose="020B0604020202020204" pitchFamily="34" charset="0"/>
              <a:buNone/>
              <a:defRPr sz="1400">
                <a:solidFill>
                  <a:schemeClr val="accent5"/>
                </a:solidFill>
              </a:defRPr>
            </a:lvl6pPr>
            <a:lvl7pPr marL="0" indent="0">
              <a:buFont typeface="Arial" panose="020B0604020202020204" pitchFamily="34" charset="0"/>
              <a:buNone/>
              <a:defRPr sz="1400">
                <a:solidFill>
                  <a:schemeClr val="accent5"/>
                </a:solidFill>
              </a:defRPr>
            </a:lvl7pPr>
            <a:lvl8pPr marL="0" indent="0">
              <a:buFont typeface="Arial" panose="020B0604020202020204" pitchFamily="34" charset="0"/>
              <a:buNone/>
              <a:defRPr sz="1400">
                <a:solidFill>
                  <a:schemeClr val="accent5"/>
                </a:solidFill>
              </a:defRPr>
            </a:lvl8pPr>
            <a:lvl9pPr marL="0" indent="0">
              <a:buFont typeface="Arial" panose="020B0604020202020204" pitchFamily="34" charset="0"/>
              <a:buNone/>
              <a:defRPr sz="1400">
                <a:solidFill>
                  <a:schemeClr val="accent5"/>
                </a:solidFill>
              </a:defRPr>
            </a:lvl9pPr>
          </a:lstStyle>
          <a:p>
            <a:pPr lvl="0"/>
            <a:r>
              <a:rPr lang="en-US"/>
              <a:t>Enter text here</a:t>
            </a:r>
          </a:p>
          <a:p>
            <a:pPr lvl="1"/>
            <a:r>
              <a:rPr lang="en-US"/>
              <a:t>##</a:t>
            </a:r>
          </a:p>
        </p:txBody>
      </p:sp>
    </p:spTree>
    <p:extLst>
      <p:ext uri="{BB962C8B-B14F-4D97-AF65-F5344CB8AC3E}">
        <p14:creationId xmlns:p14="http://schemas.microsoft.com/office/powerpoint/2010/main" val="82906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ighlights Grid Gre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99198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689942C0-6292-4519-A66A-0C8E9555E1D5}"/>
              </a:ext>
            </a:extLst>
          </p:cNvPr>
          <p:cNvSpPr>
            <a:spLocks noGrp="1"/>
          </p:cNvSpPr>
          <p:nvPr>
            <p:ph type="body" sz="quarter" idx="31" hasCustomPrompt="1"/>
          </p:nvPr>
        </p:nvSpPr>
        <p:spPr>
          <a:xfrm>
            <a:off x="9739230" y="2638424"/>
            <a:ext cx="2044783" cy="1031585"/>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28" name="Text Placeholder 2">
            <a:extLst>
              <a:ext uri="{FF2B5EF4-FFF2-40B4-BE49-F238E27FC236}">
                <a16:creationId xmlns:a16="http://schemas.microsoft.com/office/drawing/2014/main" id="{9CB6D59A-41F4-49CD-AA78-636AB1DF726C}"/>
              </a:ext>
            </a:extLst>
          </p:cNvPr>
          <p:cNvSpPr>
            <a:spLocks noGrp="1"/>
          </p:cNvSpPr>
          <p:nvPr>
            <p:ph type="body" sz="quarter" idx="32" hasCustomPrompt="1"/>
          </p:nvPr>
        </p:nvSpPr>
        <p:spPr>
          <a:xfrm>
            <a:off x="5073609" y="2638424"/>
            <a:ext cx="2044783" cy="1031585"/>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24" name="Text Placeholder 2">
            <a:extLst>
              <a:ext uri="{FF2B5EF4-FFF2-40B4-BE49-F238E27FC236}">
                <a16:creationId xmlns:a16="http://schemas.microsoft.com/office/drawing/2014/main" id="{1E8C7368-4375-4EDB-950C-A13D64AB7012}"/>
              </a:ext>
            </a:extLst>
          </p:cNvPr>
          <p:cNvSpPr>
            <a:spLocks noGrp="1"/>
          </p:cNvSpPr>
          <p:nvPr>
            <p:ph type="body" sz="quarter" idx="30" hasCustomPrompt="1"/>
          </p:nvPr>
        </p:nvSpPr>
        <p:spPr>
          <a:xfrm>
            <a:off x="7406420" y="1604963"/>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22" name="Text Placeholder 2">
            <a:extLst>
              <a:ext uri="{FF2B5EF4-FFF2-40B4-BE49-F238E27FC236}">
                <a16:creationId xmlns:a16="http://schemas.microsoft.com/office/drawing/2014/main" id="{F8AA02D0-42DD-43C4-B934-22599541EB3A}"/>
              </a:ext>
            </a:extLst>
          </p:cNvPr>
          <p:cNvSpPr>
            <a:spLocks noGrp="1"/>
          </p:cNvSpPr>
          <p:nvPr>
            <p:ph type="body" sz="quarter" idx="15" hasCustomPrompt="1"/>
          </p:nvPr>
        </p:nvSpPr>
        <p:spPr>
          <a:xfrm>
            <a:off x="407987" y="1604963"/>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 name="Picture Placeholder 2">
            <a:extLst>
              <a:ext uri="{FF2B5EF4-FFF2-40B4-BE49-F238E27FC236}">
                <a16:creationId xmlns:a16="http://schemas.microsoft.com/office/drawing/2014/main" id="{073E63EF-EFC9-42B6-A1C0-5E4E4E1CE733}"/>
              </a:ext>
            </a:extLst>
          </p:cNvPr>
          <p:cNvSpPr>
            <a:spLocks noGrp="1"/>
          </p:cNvSpPr>
          <p:nvPr>
            <p:ph type="pic" sz="quarter" idx="25"/>
          </p:nvPr>
        </p:nvSpPr>
        <p:spPr>
          <a:xfrm>
            <a:off x="5073650" y="1604963"/>
            <a:ext cx="2044700" cy="1033462"/>
          </a:xfrm>
          <a:solidFill>
            <a:schemeClr val="bg2"/>
          </a:solidFill>
        </p:spPr>
        <p:txBody>
          <a:bodyPr anchor="ctr">
            <a:normAutofit/>
          </a:bodyPr>
          <a:lstStyle>
            <a:lvl1pPr algn="ctr">
              <a:defRPr sz="1400"/>
            </a:lvl1pPr>
          </a:lstStyle>
          <a:p>
            <a:endParaRPr lang="en-GB"/>
          </a:p>
        </p:txBody>
      </p:sp>
      <p:sp>
        <p:nvSpPr>
          <p:cNvPr id="45" name="Picture Placeholder 2">
            <a:extLst>
              <a:ext uri="{FF2B5EF4-FFF2-40B4-BE49-F238E27FC236}">
                <a16:creationId xmlns:a16="http://schemas.microsoft.com/office/drawing/2014/main" id="{74CBF315-A5E3-4626-900D-209CD10C5460}"/>
              </a:ext>
            </a:extLst>
          </p:cNvPr>
          <p:cNvSpPr>
            <a:spLocks noGrp="1"/>
          </p:cNvSpPr>
          <p:nvPr>
            <p:ph type="pic" sz="quarter" idx="26"/>
          </p:nvPr>
        </p:nvSpPr>
        <p:spPr>
          <a:xfrm>
            <a:off x="5073650" y="4999036"/>
            <a:ext cx="2044700" cy="1033462"/>
          </a:xfrm>
          <a:solidFill>
            <a:schemeClr val="bg2"/>
          </a:solidFill>
        </p:spPr>
        <p:txBody>
          <a:bodyPr anchor="ctr">
            <a:normAutofit/>
          </a:bodyPr>
          <a:lstStyle>
            <a:lvl1pPr algn="ctr">
              <a:defRPr sz="1400"/>
            </a:lvl1pPr>
          </a:lstStyle>
          <a:p>
            <a:endParaRPr lang="en-GB"/>
          </a:p>
        </p:txBody>
      </p:sp>
      <p:sp>
        <p:nvSpPr>
          <p:cNvPr id="46" name="Picture Placeholder 2">
            <a:extLst>
              <a:ext uri="{FF2B5EF4-FFF2-40B4-BE49-F238E27FC236}">
                <a16:creationId xmlns:a16="http://schemas.microsoft.com/office/drawing/2014/main" id="{34DD261C-C6D4-495E-AD03-EAEB0B39A2BE}"/>
              </a:ext>
            </a:extLst>
          </p:cNvPr>
          <p:cNvSpPr>
            <a:spLocks noGrp="1"/>
          </p:cNvSpPr>
          <p:nvPr>
            <p:ph type="pic" sz="quarter" idx="27"/>
          </p:nvPr>
        </p:nvSpPr>
        <p:spPr>
          <a:xfrm>
            <a:off x="9739313" y="1604963"/>
            <a:ext cx="2044700" cy="1033462"/>
          </a:xfrm>
          <a:solidFill>
            <a:schemeClr val="bg2"/>
          </a:solidFill>
        </p:spPr>
        <p:txBody>
          <a:bodyPr anchor="ctr">
            <a:normAutofit/>
          </a:bodyPr>
          <a:lstStyle>
            <a:lvl1pPr algn="ctr">
              <a:defRPr sz="1400"/>
            </a:lvl1pPr>
          </a:lstStyle>
          <a:p>
            <a:endParaRPr lang="en-GB"/>
          </a:p>
        </p:txBody>
      </p:sp>
      <p:sp>
        <p:nvSpPr>
          <p:cNvPr id="47" name="Picture Placeholder 2">
            <a:extLst>
              <a:ext uri="{FF2B5EF4-FFF2-40B4-BE49-F238E27FC236}">
                <a16:creationId xmlns:a16="http://schemas.microsoft.com/office/drawing/2014/main" id="{DE17E8F5-712D-4422-BE3A-78606F66213E}"/>
              </a:ext>
            </a:extLst>
          </p:cNvPr>
          <p:cNvSpPr>
            <a:spLocks noGrp="1"/>
          </p:cNvSpPr>
          <p:nvPr>
            <p:ph type="pic" sz="quarter" idx="28"/>
          </p:nvPr>
        </p:nvSpPr>
        <p:spPr>
          <a:xfrm>
            <a:off x="9739313" y="4999036"/>
            <a:ext cx="2044700" cy="1033462"/>
          </a:xfrm>
          <a:solidFill>
            <a:schemeClr val="bg2"/>
          </a:solidFill>
        </p:spPr>
        <p:txBody>
          <a:bodyPr anchor="ctr">
            <a:normAutofit/>
          </a:bodyPr>
          <a:lstStyle>
            <a:lvl1pPr algn="ctr">
              <a:defRPr sz="1400"/>
            </a:lvl1pPr>
          </a:lstStyle>
          <a:p>
            <a:endParaRPr lang="en-GB"/>
          </a:p>
        </p:txBody>
      </p:sp>
      <p:sp>
        <p:nvSpPr>
          <p:cNvPr id="23" name="Text Placeholder 2">
            <a:extLst>
              <a:ext uri="{FF2B5EF4-FFF2-40B4-BE49-F238E27FC236}">
                <a16:creationId xmlns:a16="http://schemas.microsoft.com/office/drawing/2014/main" id="{E44AA1AC-8858-41DB-95F1-F374AF430CDF}"/>
              </a:ext>
            </a:extLst>
          </p:cNvPr>
          <p:cNvSpPr>
            <a:spLocks noGrp="1"/>
          </p:cNvSpPr>
          <p:nvPr>
            <p:ph type="body" sz="quarter" idx="29" hasCustomPrompt="1"/>
          </p:nvPr>
        </p:nvSpPr>
        <p:spPr>
          <a:xfrm>
            <a:off x="2740798" y="1604963"/>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1" name="Text Placeholder 2">
            <a:extLst>
              <a:ext uri="{FF2B5EF4-FFF2-40B4-BE49-F238E27FC236}">
                <a16:creationId xmlns:a16="http://schemas.microsoft.com/office/drawing/2014/main" id="{F950E4DF-5DBC-4309-B79A-870564B6335A}"/>
              </a:ext>
            </a:extLst>
          </p:cNvPr>
          <p:cNvSpPr>
            <a:spLocks noGrp="1"/>
          </p:cNvSpPr>
          <p:nvPr>
            <p:ph type="body" sz="quarter" idx="33" hasCustomPrompt="1"/>
          </p:nvPr>
        </p:nvSpPr>
        <p:spPr>
          <a:xfrm>
            <a:off x="9739230" y="3967450"/>
            <a:ext cx="2044783" cy="1031585"/>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2" name="Text Placeholder 2">
            <a:extLst>
              <a:ext uri="{FF2B5EF4-FFF2-40B4-BE49-F238E27FC236}">
                <a16:creationId xmlns:a16="http://schemas.microsoft.com/office/drawing/2014/main" id="{75AED950-F280-42C5-88D0-5081103547FC}"/>
              </a:ext>
            </a:extLst>
          </p:cNvPr>
          <p:cNvSpPr>
            <a:spLocks noGrp="1"/>
          </p:cNvSpPr>
          <p:nvPr>
            <p:ph type="body" sz="quarter" idx="34" hasCustomPrompt="1"/>
          </p:nvPr>
        </p:nvSpPr>
        <p:spPr>
          <a:xfrm>
            <a:off x="5073609" y="3967450"/>
            <a:ext cx="2044783" cy="1031585"/>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48" name="Text Placeholder 2">
            <a:extLst>
              <a:ext uri="{FF2B5EF4-FFF2-40B4-BE49-F238E27FC236}">
                <a16:creationId xmlns:a16="http://schemas.microsoft.com/office/drawing/2014/main" id="{A3E29257-0030-47C9-8BD7-3388EA964011}"/>
              </a:ext>
            </a:extLst>
          </p:cNvPr>
          <p:cNvSpPr>
            <a:spLocks noGrp="1"/>
          </p:cNvSpPr>
          <p:nvPr>
            <p:ph type="body" sz="quarter" idx="35" hasCustomPrompt="1"/>
          </p:nvPr>
        </p:nvSpPr>
        <p:spPr>
          <a:xfrm>
            <a:off x="7406420" y="3967450"/>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49" name="Text Placeholder 2">
            <a:extLst>
              <a:ext uri="{FF2B5EF4-FFF2-40B4-BE49-F238E27FC236}">
                <a16:creationId xmlns:a16="http://schemas.microsoft.com/office/drawing/2014/main" id="{C27DFC6E-8C45-4A57-BC3A-40B3B13FD68A}"/>
              </a:ext>
            </a:extLst>
          </p:cNvPr>
          <p:cNvSpPr>
            <a:spLocks noGrp="1"/>
          </p:cNvSpPr>
          <p:nvPr>
            <p:ph type="body" sz="quarter" idx="36" hasCustomPrompt="1"/>
          </p:nvPr>
        </p:nvSpPr>
        <p:spPr>
          <a:xfrm>
            <a:off x="407987" y="3967450"/>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50" name="Text Placeholder 2">
            <a:extLst>
              <a:ext uri="{FF2B5EF4-FFF2-40B4-BE49-F238E27FC236}">
                <a16:creationId xmlns:a16="http://schemas.microsoft.com/office/drawing/2014/main" id="{74C52A8D-5D4F-4699-B668-3F063E4F3991}"/>
              </a:ext>
            </a:extLst>
          </p:cNvPr>
          <p:cNvSpPr>
            <a:spLocks noGrp="1"/>
          </p:cNvSpPr>
          <p:nvPr>
            <p:ph type="body" sz="quarter" idx="37" hasCustomPrompt="1"/>
          </p:nvPr>
        </p:nvSpPr>
        <p:spPr>
          <a:xfrm>
            <a:off x="2740798" y="3967450"/>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Tree>
    <p:extLst>
      <p:ext uri="{BB962C8B-B14F-4D97-AF65-F5344CB8AC3E}">
        <p14:creationId xmlns:p14="http://schemas.microsoft.com/office/powerpoint/2010/main" val="267672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ighlights Grid Blu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99198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689942C0-6292-4519-A66A-0C8E9555E1D5}"/>
              </a:ext>
            </a:extLst>
          </p:cNvPr>
          <p:cNvSpPr>
            <a:spLocks noGrp="1"/>
          </p:cNvSpPr>
          <p:nvPr>
            <p:ph type="body" sz="quarter" idx="31" hasCustomPrompt="1"/>
          </p:nvPr>
        </p:nvSpPr>
        <p:spPr>
          <a:xfrm>
            <a:off x="9739230" y="2638424"/>
            <a:ext cx="2044783" cy="1031585"/>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28" name="Text Placeholder 2">
            <a:extLst>
              <a:ext uri="{FF2B5EF4-FFF2-40B4-BE49-F238E27FC236}">
                <a16:creationId xmlns:a16="http://schemas.microsoft.com/office/drawing/2014/main" id="{9CB6D59A-41F4-49CD-AA78-636AB1DF726C}"/>
              </a:ext>
            </a:extLst>
          </p:cNvPr>
          <p:cNvSpPr>
            <a:spLocks noGrp="1"/>
          </p:cNvSpPr>
          <p:nvPr>
            <p:ph type="body" sz="quarter" idx="32" hasCustomPrompt="1"/>
          </p:nvPr>
        </p:nvSpPr>
        <p:spPr>
          <a:xfrm>
            <a:off x="5073609" y="2638424"/>
            <a:ext cx="2044783" cy="1031585"/>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24" name="Text Placeholder 2">
            <a:extLst>
              <a:ext uri="{FF2B5EF4-FFF2-40B4-BE49-F238E27FC236}">
                <a16:creationId xmlns:a16="http://schemas.microsoft.com/office/drawing/2014/main" id="{1E8C7368-4375-4EDB-950C-A13D64AB7012}"/>
              </a:ext>
            </a:extLst>
          </p:cNvPr>
          <p:cNvSpPr>
            <a:spLocks noGrp="1"/>
          </p:cNvSpPr>
          <p:nvPr>
            <p:ph type="body" sz="quarter" idx="30" hasCustomPrompt="1"/>
          </p:nvPr>
        </p:nvSpPr>
        <p:spPr>
          <a:xfrm>
            <a:off x="7406420" y="1604963"/>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22" name="Text Placeholder 2">
            <a:extLst>
              <a:ext uri="{FF2B5EF4-FFF2-40B4-BE49-F238E27FC236}">
                <a16:creationId xmlns:a16="http://schemas.microsoft.com/office/drawing/2014/main" id="{F8AA02D0-42DD-43C4-B934-22599541EB3A}"/>
              </a:ext>
            </a:extLst>
          </p:cNvPr>
          <p:cNvSpPr>
            <a:spLocks noGrp="1"/>
          </p:cNvSpPr>
          <p:nvPr>
            <p:ph type="body" sz="quarter" idx="15" hasCustomPrompt="1"/>
          </p:nvPr>
        </p:nvSpPr>
        <p:spPr>
          <a:xfrm>
            <a:off x="407987" y="1604963"/>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 name="Picture Placeholder 2">
            <a:extLst>
              <a:ext uri="{FF2B5EF4-FFF2-40B4-BE49-F238E27FC236}">
                <a16:creationId xmlns:a16="http://schemas.microsoft.com/office/drawing/2014/main" id="{073E63EF-EFC9-42B6-A1C0-5E4E4E1CE733}"/>
              </a:ext>
            </a:extLst>
          </p:cNvPr>
          <p:cNvSpPr>
            <a:spLocks noGrp="1"/>
          </p:cNvSpPr>
          <p:nvPr>
            <p:ph type="pic" sz="quarter" idx="25"/>
          </p:nvPr>
        </p:nvSpPr>
        <p:spPr>
          <a:xfrm>
            <a:off x="5073650" y="1604963"/>
            <a:ext cx="2044700" cy="1033462"/>
          </a:xfrm>
          <a:solidFill>
            <a:schemeClr val="bg2"/>
          </a:solidFill>
        </p:spPr>
        <p:txBody>
          <a:bodyPr anchor="ctr">
            <a:normAutofit/>
          </a:bodyPr>
          <a:lstStyle>
            <a:lvl1pPr algn="ctr">
              <a:defRPr sz="1400"/>
            </a:lvl1pPr>
          </a:lstStyle>
          <a:p>
            <a:endParaRPr lang="en-GB"/>
          </a:p>
        </p:txBody>
      </p:sp>
      <p:sp>
        <p:nvSpPr>
          <p:cNvPr id="45" name="Picture Placeholder 2">
            <a:extLst>
              <a:ext uri="{FF2B5EF4-FFF2-40B4-BE49-F238E27FC236}">
                <a16:creationId xmlns:a16="http://schemas.microsoft.com/office/drawing/2014/main" id="{74CBF315-A5E3-4626-900D-209CD10C5460}"/>
              </a:ext>
            </a:extLst>
          </p:cNvPr>
          <p:cNvSpPr>
            <a:spLocks noGrp="1"/>
          </p:cNvSpPr>
          <p:nvPr>
            <p:ph type="pic" sz="quarter" idx="26"/>
          </p:nvPr>
        </p:nvSpPr>
        <p:spPr>
          <a:xfrm>
            <a:off x="5073650" y="4999036"/>
            <a:ext cx="2044700" cy="1033462"/>
          </a:xfrm>
          <a:solidFill>
            <a:schemeClr val="bg2"/>
          </a:solidFill>
        </p:spPr>
        <p:txBody>
          <a:bodyPr anchor="ctr">
            <a:normAutofit/>
          </a:bodyPr>
          <a:lstStyle>
            <a:lvl1pPr algn="ctr">
              <a:defRPr sz="1400"/>
            </a:lvl1pPr>
          </a:lstStyle>
          <a:p>
            <a:endParaRPr lang="en-GB"/>
          </a:p>
        </p:txBody>
      </p:sp>
      <p:sp>
        <p:nvSpPr>
          <p:cNvPr id="46" name="Picture Placeholder 2">
            <a:extLst>
              <a:ext uri="{FF2B5EF4-FFF2-40B4-BE49-F238E27FC236}">
                <a16:creationId xmlns:a16="http://schemas.microsoft.com/office/drawing/2014/main" id="{34DD261C-C6D4-495E-AD03-EAEB0B39A2BE}"/>
              </a:ext>
            </a:extLst>
          </p:cNvPr>
          <p:cNvSpPr>
            <a:spLocks noGrp="1"/>
          </p:cNvSpPr>
          <p:nvPr>
            <p:ph type="pic" sz="quarter" idx="27"/>
          </p:nvPr>
        </p:nvSpPr>
        <p:spPr>
          <a:xfrm>
            <a:off x="9739313" y="1604963"/>
            <a:ext cx="2044700" cy="1033462"/>
          </a:xfrm>
          <a:solidFill>
            <a:schemeClr val="bg2"/>
          </a:solidFill>
        </p:spPr>
        <p:txBody>
          <a:bodyPr anchor="ctr">
            <a:normAutofit/>
          </a:bodyPr>
          <a:lstStyle>
            <a:lvl1pPr algn="ctr">
              <a:defRPr sz="1400"/>
            </a:lvl1pPr>
          </a:lstStyle>
          <a:p>
            <a:endParaRPr lang="en-GB"/>
          </a:p>
        </p:txBody>
      </p:sp>
      <p:sp>
        <p:nvSpPr>
          <p:cNvPr id="47" name="Picture Placeholder 2">
            <a:extLst>
              <a:ext uri="{FF2B5EF4-FFF2-40B4-BE49-F238E27FC236}">
                <a16:creationId xmlns:a16="http://schemas.microsoft.com/office/drawing/2014/main" id="{DE17E8F5-712D-4422-BE3A-78606F66213E}"/>
              </a:ext>
            </a:extLst>
          </p:cNvPr>
          <p:cNvSpPr>
            <a:spLocks noGrp="1"/>
          </p:cNvSpPr>
          <p:nvPr>
            <p:ph type="pic" sz="quarter" idx="28"/>
          </p:nvPr>
        </p:nvSpPr>
        <p:spPr>
          <a:xfrm>
            <a:off x="9739313" y="4999036"/>
            <a:ext cx="2044700" cy="1033462"/>
          </a:xfrm>
          <a:solidFill>
            <a:schemeClr val="bg2"/>
          </a:solidFill>
        </p:spPr>
        <p:txBody>
          <a:bodyPr anchor="ctr">
            <a:normAutofit/>
          </a:bodyPr>
          <a:lstStyle>
            <a:lvl1pPr algn="ctr">
              <a:defRPr sz="1400"/>
            </a:lvl1pPr>
          </a:lstStyle>
          <a:p>
            <a:endParaRPr lang="en-GB"/>
          </a:p>
        </p:txBody>
      </p:sp>
      <p:sp>
        <p:nvSpPr>
          <p:cNvPr id="23" name="Text Placeholder 2">
            <a:extLst>
              <a:ext uri="{FF2B5EF4-FFF2-40B4-BE49-F238E27FC236}">
                <a16:creationId xmlns:a16="http://schemas.microsoft.com/office/drawing/2014/main" id="{E44AA1AC-8858-41DB-95F1-F374AF430CDF}"/>
              </a:ext>
            </a:extLst>
          </p:cNvPr>
          <p:cNvSpPr>
            <a:spLocks noGrp="1"/>
          </p:cNvSpPr>
          <p:nvPr>
            <p:ph type="body" sz="quarter" idx="29" hasCustomPrompt="1"/>
          </p:nvPr>
        </p:nvSpPr>
        <p:spPr>
          <a:xfrm>
            <a:off x="2740798" y="1604963"/>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1" name="Text Placeholder 2">
            <a:extLst>
              <a:ext uri="{FF2B5EF4-FFF2-40B4-BE49-F238E27FC236}">
                <a16:creationId xmlns:a16="http://schemas.microsoft.com/office/drawing/2014/main" id="{F950E4DF-5DBC-4309-B79A-870564B6335A}"/>
              </a:ext>
            </a:extLst>
          </p:cNvPr>
          <p:cNvSpPr>
            <a:spLocks noGrp="1"/>
          </p:cNvSpPr>
          <p:nvPr>
            <p:ph type="body" sz="quarter" idx="33" hasCustomPrompt="1"/>
          </p:nvPr>
        </p:nvSpPr>
        <p:spPr>
          <a:xfrm>
            <a:off x="9739230" y="3967450"/>
            <a:ext cx="2044783" cy="1031585"/>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2" name="Text Placeholder 2">
            <a:extLst>
              <a:ext uri="{FF2B5EF4-FFF2-40B4-BE49-F238E27FC236}">
                <a16:creationId xmlns:a16="http://schemas.microsoft.com/office/drawing/2014/main" id="{75AED950-F280-42C5-88D0-5081103547FC}"/>
              </a:ext>
            </a:extLst>
          </p:cNvPr>
          <p:cNvSpPr>
            <a:spLocks noGrp="1"/>
          </p:cNvSpPr>
          <p:nvPr>
            <p:ph type="body" sz="quarter" idx="34" hasCustomPrompt="1"/>
          </p:nvPr>
        </p:nvSpPr>
        <p:spPr>
          <a:xfrm>
            <a:off x="5073609" y="3967450"/>
            <a:ext cx="2044783" cy="1031585"/>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48" name="Text Placeholder 2">
            <a:extLst>
              <a:ext uri="{FF2B5EF4-FFF2-40B4-BE49-F238E27FC236}">
                <a16:creationId xmlns:a16="http://schemas.microsoft.com/office/drawing/2014/main" id="{A3E29257-0030-47C9-8BD7-3388EA964011}"/>
              </a:ext>
            </a:extLst>
          </p:cNvPr>
          <p:cNvSpPr>
            <a:spLocks noGrp="1"/>
          </p:cNvSpPr>
          <p:nvPr>
            <p:ph type="body" sz="quarter" idx="35" hasCustomPrompt="1"/>
          </p:nvPr>
        </p:nvSpPr>
        <p:spPr>
          <a:xfrm>
            <a:off x="7406420" y="3967450"/>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49" name="Text Placeholder 2">
            <a:extLst>
              <a:ext uri="{FF2B5EF4-FFF2-40B4-BE49-F238E27FC236}">
                <a16:creationId xmlns:a16="http://schemas.microsoft.com/office/drawing/2014/main" id="{C27DFC6E-8C45-4A57-BC3A-40B3B13FD68A}"/>
              </a:ext>
            </a:extLst>
          </p:cNvPr>
          <p:cNvSpPr>
            <a:spLocks noGrp="1"/>
          </p:cNvSpPr>
          <p:nvPr>
            <p:ph type="body" sz="quarter" idx="36" hasCustomPrompt="1"/>
          </p:nvPr>
        </p:nvSpPr>
        <p:spPr>
          <a:xfrm>
            <a:off x="407987" y="3967450"/>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50" name="Text Placeholder 2">
            <a:extLst>
              <a:ext uri="{FF2B5EF4-FFF2-40B4-BE49-F238E27FC236}">
                <a16:creationId xmlns:a16="http://schemas.microsoft.com/office/drawing/2014/main" id="{74C52A8D-5D4F-4699-B668-3F063E4F3991}"/>
              </a:ext>
            </a:extLst>
          </p:cNvPr>
          <p:cNvSpPr>
            <a:spLocks noGrp="1"/>
          </p:cNvSpPr>
          <p:nvPr>
            <p:ph type="body" sz="quarter" idx="37" hasCustomPrompt="1"/>
          </p:nvPr>
        </p:nvSpPr>
        <p:spPr>
          <a:xfrm>
            <a:off x="2740798" y="3967450"/>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Tree>
    <p:extLst>
      <p:ext uri="{BB962C8B-B14F-4D97-AF65-F5344CB8AC3E}">
        <p14:creationId xmlns:p14="http://schemas.microsoft.com/office/powerpoint/2010/main" val="361452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ighlights Grid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99198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17" name="Text Placeholder 2">
            <a:extLst>
              <a:ext uri="{FF2B5EF4-FFF2-40B4-BE49-F238E27FC236}">
                <a16:creationId xmlns:a16="http://schemas.microsoft.com/office/drawing/2014/main" id="{C8C5F658-7738-4AF8-AAAB-F3A82BF145C4}"/>
              </a:ext>
            </a:extLst>
          </p:cNvPr>
          <p:cNvSpPr>
            <a:spLocks noGrp="1"/>
          </p:cNvSpPr>
          <p:nvPr>
            <p:ph type="body" sz="quarter" idx="49" hasCustomPrompt="1"/>
          </p:nvPr>
        </p:nvSpPr>
        <p:spPr>
          <a:xfrm>
            <a:off x="407987"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18" name="Text Placeholder 2">
            <a:extLst>
              <a:ext uri="{FF2B5EF4-FFF2-40B4-BE49-F238E27FC236}">
                <a16:creationId xmlns:a16="http://schemas.microsoft.com/office/drawing/2014/main" id="{E290E860-567E-41D1-8E5E-0AD4F3021B3A}"/>
              </a:ext>
            </a:extLst>
          </p:cNvPr>
          <p:cNvSpPr>
            <a:spLocks noGrp="1"/>
          </p:cNvSpPr>
          <p:nvPr>
            <p:ph type="body" sz="quarter" idx="47" hasCustomPrompt="1"/>
          </p:nvPr>
        </p:nvSpPr>
        <p:spPr>
          <a:xfrm>
            <a:off x="9739230"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19" name="Text Placeholder 2">
            <a:extLst>
              <a:ext uri="{FF2B5EF4-FFF2-40B4-BE49-F238E27FC236}">
                <a16:creationId xmlns:a16="http://schemas.microsoft.com/office/drawing/2014/main" id="{5D3370F5-F2C1-45EF-B0D3-48B425314C7F}"/>
              </a:ext>
            </a:extLst>
          </p:cNvPr>
          <p:cNvSpPr>
            <a:spLocks noGrp="1"/>
          </p:cNvSpPr>
          <p:nvPr>
            <p:ph type="body" sz="quarter" idx="48" hasCustomPrompt="1"/>
          </p:nvPr>
        </p:nvSpPr>
        <p:spPr>
          <a:xfrm>
            <a:off x="9739230"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0" name="Text Placeholder 2">
            <a:extLst>
              <a:ext uri="{FF2B5EF4-FFF2-40B4-BE49-F238E27FC236}">
                <a16:creationId xmlns:a16="http://schemas.microsoft.com/office/drawing/2014/main" id="{DF594A6B-A675-4424-B118-823CAAE3A5C9}"/>
              </a:ext>
            </a:extLst>
          </p:cNvPr>
          <p:cNvSpPr>
            <a:spLocks noGrp="1"/>
          </p:cNvSpPr>
          <p:nvPr>
            <p:ph type="body" sz="quarter" idx="15" hasCustomPrompt="1"/>
          </p:nvPr>
        </p:nvSpPr>
        <p:spPr>
          <a:xfrm>
            <a:off x="407987"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1" name="Text Placeholder 2">
            <a:extLst>
              <a:ext uri="{FF2B5EF4-FFF2-40B4-BE49-F238E27FC236}">
                <a16:creationId xmlns:a16="http://schemas.microsoft.com/office/drawing/2014/main" id="{538D7AAC-BF51-4CB0-B1B0-479981A0FEB8}"/>
              </a:ext>
            </a:extLst>
          </p:cNvPr>
          <p:cNvSpPr>
            <a:spLocks noGrp="1"/>
          </p:cNvSpPr>
          <p:nvPr>
            <p:ph type="body" sz="quarter" idx="50" hasCustomPrompt="1"/>
          </p:nvPr>
        </p:nvSpPr>
        <p:spPr>
          <a:xfrm>
            <a:off x="2740798"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2" name="Text Placeholder 2">
            <a:extLst>
              <a:ext uri="{FF2B5EF4-FFF2-40B4-BE49-F238E27FC236}">
                <a16:creationId xmlns:a16="http://schemas.microsoft.com/office/drawing/2014/main" id="{95350F03-BEE9-4253-826B-C4EF0E342946}"/>
              </a:ext>
            </a:extLst>
          </p:cNvPr>
          <p:cNvSpPr>
            <a:spLocks noGrp="1"/>
          </p:cNvSpPr>
          <p:nvPr>
            <p:ph type="body" sz="quarter" idx="52" hasCustomPrompt="1"/>
          </p:nvPr>
        </p:nvSpPr>
        <p:spPr>
          <a:xfrm>
            <a:off x="5073609"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3" name="Text Placeholder 2">
            <a:extLst>
              <a:ext uri="{FF2B5EF4-FFF2-40B4-BE49-F238E27FC236}">
                <a16:creationId xmlns:a16="http://schemas.microsoft.com/office/drawing/2014/main" id="{30F7600E-544D-40B3-807C-E65BBAEE1A97}"/>
              </a:ext>
            </a:extLst>
          </p:cNvPr>
          <p:cNvSpPr>
            <a:spLocks noGrp="1"/>
          </p:cNvSpPr>
          <p:nvPr>
            <p:ph type="body" sz="quarter" idx="53" hasCustomPrompt="1"/>
          </p:nvPr>
        </p:nvSpPr>
        <p:spPr>
          <a:xfrm>
            <a:off x="7406420"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4" name="Text Placeholder 2">
            <a:extLst>
              <a:ext uri="{FF2B5EF4-FFF2-40B4-BE49-F238E27FC236}">
                <a16:creationId xmlns:a16="http://schemas.microsoft.com/office/drawing/2014/main" id="{5347CEFC-F239-41FA-BDA1-39E7724E4FCF}"/>
              </a:ext>
            </a:extLst>
          </p:cNvPr>
          <p:cNvSpPr>
            <a:spLocks noGrp="1"/>
          </p:cNvSpPr>
          <p:nvPr>
            <p:ph type="body" sz="quarter" idx="54" hasCustomPrompt="1"/>
          </p:nvPr>
        </p:nvSpPr>
        <p:spPr>
          <a:xfrm>
            <a:off x="2740798"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5" name="Text Placeholder 2">
            <a:extLst>
              <a:ext uri="{FF2B5EF4-FFF2-40B4-BE49-F238E27FC236}">
                <a16:creationId xmlns:a16="http://schemas.microsoft.com/office/drawing/2014/main" id="{06750518-7965-4E59-A8BB-3A52448BCB75}"/>
              </a:ext>
            </a:extLst>
          </p:cNvPr>
          <p:cNvSpPr>
            <a:spLocks noGrp="1"/>
          </p:cNvSpPr>
          <p:nvPr>
            <p:ph type="body" sz="quarter" idx="55" hasCustomPrompt="1"/>
          </p:nvPr>
        </p:nvSpPr>
        <p:spPr>
          <a:xfrm>
            <a:off x="5073609"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6" name="Text Placeholder 2">
            <a:extLst>
              <a:ext uri="{FF2B5EF4-FFF2-40B4-BE49-F238E27FC236}">
                <a16:creationId xmlns:a16="http://schemas.microsoft.com/office/drawing/2014/main" id="{CE01691D-21C4-4888-8E49-DA6129397197}"/>
              </a:ext>
            </a:extLst>
          </p:cNvPr>
          <p:cNvSpPr>
            <a:spLocks noGrp="1"/>
          </p:cNvSpPr>
          <p:nvPr>
            <p:ph type="body" sz="quarter" idx="56" hasCustomPrompt="1"/>
          </p:nvPr>
        </p:nvSpPr>
        <p:spPr>
          <a:xfrm>
            <a:off x="7406420"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Tree>
    <p:extLst>
      <p:ext uri="{BB962C8B-B14F-4D97-AF65-F5344CB8AC3E}">
        <p14:creationId xmlns:p14="http://schemas.microsoft.com/office/powerpoint/2010/main" val="58459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Green Title Light Imag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261982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54A2557C-A8C1-4F32-B06F-A744A6878B7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25572" y="443583"/>
            <a:ext cx="658441" cy="877146"/>
          </a:xfrm>
          <a:prstGeom prst="rect">
            <a:avLst/>
          </a:prstGeom>
        </p:spPr>
      </p:pic>
      <p:sp>
        <p:nvSpPr>
          <p:cNvPr id="10" name="Picture Placeholder 9">
            <a:extLst>
              <a:ext uri="{FF2B5EF4-FFF2-40B4-BE49-F238E27FC236}">
                <a16:creationId xmlns:a16="http://schemas.microsoft.com/office/drawing/2014/main" id="{C9310B82-B241-468C-818E-B425DECD915D}"/>
              </a:ext>
            </a:extLst>
          </p:cNvPr>
          <p:cNvSpPr>
            <a:spLocks noGrp="1"/>
          </p:cNvSpPr>
          <p:nvPr>
            <p:ph type="pic" sz="quarter" idx="14" hasCustomPrompt="1"/>
          </p:nvPr>
        </p:nvSpPr>
        <p:spPr>
          <a:xfrm>
            <a:off x="6096000" y="0"/>
            <a:ext cx="6096000" cy="6858000"/>
          </a:xfrm>
          <a:custGeom>
            <a:avLst/>
            <a:gdLst>
              <a:gd name="connsiteX0" fmla="*/ 5358881 w 6096000"/>
              <a:gd name="connsiteY0" fmla="*/ 647700 h 6858000"/>
              <a:gd name="connsiteX1" fmla="*/ 5313581 w 6096000"/>
              <a:gd name="connsiteY1" fmla="*/ 729366 h 6858000"/>
              <a:gd name="connsiteX2" fmla="*/ 5243152 w 6096000"/>
              <a:gd name="connsiteY2" fmla="*/ 668105 h 6858000"/>
              <a:gd name="connsiteX3" fmla="*/ 5228554 w 6096000"/>
              <a:gd name="connsiteY3" fmla="*/ 760326 h 6858000"/>
              <a:gd name="connsiteX4" fmla="*/ 5141410 w 6096000"/>
              <a:gd name="connsiteY4" fmla="*/ 726827 h 6858000"/>
              <a:gd name="connsiteX5" fmla="*/ 5159229 w 6096000"/>
              <a:gd name="connsiteY5" fmla="*/ 818508 h 6858000"/>
              <a:gd name="connsiteX6" fmla="*/ 5065857 w 6096000"/>
              <a:gd name="connsiteY6" fmla="*/ 816862 h 6858000"/>
              <a:gd name="connsiteX7" fmla="*/ 5113906 w 6096000"/>
              <a:gd name="connsiteY7" fmla="*/ 896882 h 6858000"/>
              <a:gd name="connsiteX8" fmla="*/ 5025658 w 6096000"/>
              <a:gd name="connsiteY8" fmla="*/ 927278 h 6858000"/>
              <a:gd name="connsiteX9" fmla="*/ 5098226 w 6096000"/>
              <a:gd name="connsiteY9" fmla="*/ 986024 h 6858000"/>
              <a:gd name="connsiteX10" fmla="*/ 5025658 w 6096000"/>
              <a:gd name="connsiteY10" fmla="*/ 1044770 h 6858000"/>
              <a:gd name="connsiteX11" fmla="*/ 5113906 w 6096000"/>
              <a:gd name="connsiteY11" fmla="*/ 1075142 h 6858000"/>
              <a:gd name="connsiteX12" fmla="*/ 5065857 w 6096000"/>
              <a:gd name="connsiteY12" fmla="*/ 1155232 h 6858000"/>
              <a:gd name="connsiteX13" fmla="*/ 5159229 w 6096000"/>
              <a:gd name="connsiteY13" fmla="*/ 1153563 h 6858000"/>
              <a:gd name="connsiteX14" fmla="*/ 5141410 w 6096000"/>
              <a:gd name="connsiteY14" fmla="*/ 1245221 h 6858000"/>
              <a:gd name="connsiteX15" fmla="*/ 5228554 w 6096000"/>
              <a:gd name="connsiteY15" fmla="*/ 1211792 h 6858000"/>
              <a:gd name="connsiteX16" fmla="*/ 5243152 w 6096000"/>
              <a:gd name="connsiteY16" fmla="*/ 1303990 h 6858000"/>
              <a:gd name="connsiteX17" fmla="*/ 5313581 w 6096000"/>
              <a:gd name="connsiteY17" fmla="*/ 1242752 h 6858000"/>
              <a:gd name="connsiteX18" fmla="*/ 5358881 w 6096000"/>
              <a:gd name="connsiteY18" fmla="*/ 1324394 h 6858000"/>
              <a:gd name="connsiteX19" fmla="*/ 5404180 w 6096000"/>
              <a:gd name="connsiteY19" fmla="*/ 1242752 h 6858000"/>
              <a:gd name="connsiteX20" fmla="*/ 5474609 w 6096000"/>
              <a:gd name="connsiteY20" fmla="*/ 1303990 h 6858000"/>
              <a:gd name="connsiteX21" fmla="*/ 5489184 w 6096000"/>
              <a:gd name="connsiteY21" fmla="*/ 1211792 h 6858000"/>
              <a:gd name="connsiteX22" fmla="*/ 5576351 w 6096000"/>
              <a:gd name="connsiteY22" fmla="*/ 1245221 h 6858000"/>
              <a:gd name="connsiteX23" fmla="*/ 5558509 w 6096000"/>
              <a:gd name="connsiteY23" fmla="*/ 1153563 h 6858000"/>
              <a:gd name="connsiteX24" fmla="*/ 5651881 w 6096000"/>
              <a:gd name="connsiteY24" fmla="*/ 1155232 h 6858000"/>
              <a:gd name="connsiteX25" fmla="*/ 5603785 w 6096000"/>
              <a:gd name="connsiteY25" fmla="*/ 1075142 h 6858000"/>
              <a:gd name="connsiteX26" fmla="*/ 5692056 w 6096000"/>
              <a:gd name="connsiteY26" fmla="*/ 1044770 h 6858000"/>
              <a:gd name="connsiteX27" fmla="*/ 5619464 w 6096000"/>
              <a:gd name="connsiteY27" fmla="*/ 986024 h 6858000"/>
              <a:gd name="connsiteX28" fmla="*/ 5692056 w 6096000"/>
              <a:gd name="connsiteY28" fmla="*/ 927278 h 6858000"/>
              <a:gd name="connsiteX29" fmla="*/ 5603785 w 6096000"/>
              <a:gd name="connsiteY29" fmla="*/ 896882 h 6858000"/>
              <a:gd name="connsiteX30" fmla="*/ 5651881 w 6096000"/>
              <a:gd name="connsiteY30" fmla="*/ 816815 h 6858000"/>
              <a:gd name="connsiteX31" fmla="*/ 5558509 w 6096000"/>
              <a:gd name="connsiteY31" fmla="*/ 818508 h 6858000"/>
              <a:gd name="connsiteX32" fmla="*/ 5576351 w 6096000"/>
              <a:gd name="connsiteY32" fmla="*/ 726827 h 6858000"/>
              <a:gd name="connsiteX33" fmla="*/ 5489184 w 6096000"/>
              <a:gd name="connsiteY33" fmla="*/ 760278 h 6858000"/>
              <a:gd name="connsiteX34" fmla="*/ 5474609 w 6096000"/>
              <a:gd name="connsiteY34" fmla="*/ 668105 h 6858000"/>
              <a:gd name="connsiteX35" fmla="*/ 5404180 w 6096000"/>
              <a:gd name="connsiteY35" fmla="*/ 729366 h 6858000"/>
              <a:gd name="connsiteX36" fmla="*/ 5358881 w 6096000"/>
              <a:gd name="connsiteY36" fmla="*/ 647700 h 6858000"/>
              <a:gd name="connsiteX37" fmla="*/ 5633981 w 6096000"/>
              <a:gd name="connsiteY37" fmla="*/ 502880 h 6858000"/>
              <a:gd name="connsiteX38" fmla="*/ 5633981 w 6096000"/>
              <a:gd name="connsiteY38" fmla="*/ 502903 h 6858000"/>
              <a:gd name="connsiteX39" fmla="*/ 5666227 w 6096000"/>
              <a:gd name="connsiteY39" fmla="*/ 545891 h 6858000"/>
              <a:gd name="connsiteX40" fmla="*/ 5656651 w 6096000"/>
              <a:gd name="connsiteY40" fmla="*/ 582565 h 6858000"/>
              <a:gd name="connsiteX41" fmla="*/ 5631907 w 6096000"/>
              <a:gd name="connsiteY41" fmla="*/ 594005 h 6858000"/>
              <a:gd name="connsiteX42" fmla="*/ 5598938 w 6096000"/>
              <a:gd name="connsiteY42" fmla="*/ 550551 h 6858000"/>
              <a:gd name="connsiteX43" fmla="*/ 5633981 w 6096000"/>
              <a:gd name="connsiteY43" fmla="*/ 502880 h 6858000"/>
              <a:gd name="connsiteX44" fmla="*/ 5505016 w 6096000"/>
              <a:gd name="connsiteY44" fmla="*/ 500318 h 6858000"/>
              <a:gd name="connsiteX45" fmla="*/ 5537985 w 6096000"/>
              <a:gd name="connsiteY45" fmla="*/ 545869 h 6858000"/>
              <a:gd name="connsiteX46" fmla="*/ 5504107 w 6096000"/>
              <a:gd name="connsiteY46" fmla="*/ 591420 h 6858000"/>
              <a:gd name="connsiteX47" fmla="*/ 5471395 w 6096000"/>
              <a:gd name="connsiteY47" fmla="*/ 547034 h 6858000"/>
              <a:gd name="connsiteX48" fmla="*/ 5505016 w 6096000"/>
              <a:gd name="connsiteY48" fmla="*/ 500318 h 6858000"/>
              <a:gd name="connsiteX49" fmla="*/ 5639875 w 6096000"/>
              <a:gd name="connsiteY49" fmla="*/ 486547 h 6858000"/>
              <a:gd name="connsiteX50" fmla="*/ 5599916 w 6096000"/>
              <a:gd name="connsiteY50" fmla="*/ 507796 h 6858000"/>
              <a:gd name="connsiteX51" fmla="*/ 5599450 w 6096000"/>
              <a:gd name="connsiteY51" fmla="*/ 488411 h 6858000"/>
              <a:gd name="connsiteX52" fmla="*/ 5577269 w 6096000"/>
              <a:gd name="connsiteY52" fmla="*/ 488411 h 6858000"/>
              <a:gd name="connsiteX53" fmla="*/ 5577968 w 6096000"/>
              <a:gd name="connsiteY53" fmla="*/ 507563 h 6858000"/>
              <a:gd name="connsiteX54" fmla="*/ 5577968 w 6096000"/>
              <a:gd name="connsiteY54" fmla="*/ 650764 h 6858000"/>
              <a:gd name="connsiteX55" fmla="*/ 5599660 w 6096000"/>
              <a:gd name="connsiteY55" fmla="*/ 650764 h 6858000"/>
              <a:gd name="connsiteX56" fmla="*/ 5599660 w 6096000"/>
              <a:gd name="connsiteY56" fmla="*/ 592607 h 6858000"/>
              <a:gd name="connsiteX57" fmla="*/ 5635635 w 6096000"/>
              <a:gd name="connsiteY57" fmla="*/ 610129 h 6858000"/>
              <a:gd name="connsiteX58" fmla="*/ 5689108 w 6096000"/>
              <a:gd name="connsiteY58" fmla="*/ 547289 h 6858000"/>
              <a:gd name="connsiteX59" fmla="*/ 5639875 w 6096000"/>
              <a:gd name="connsiteY59" fmla="*/ 486547 h 6858000"/>
              <a:gd name="connsiteX60" fmla="*/ 5449912 w 6096000"/>
              <a:gd name="connsiteY60" fmla="*/ 443583 h 6858000"/>
              <a:gd name="connsiteX61" fmla="*/ 5449912 w 6096000"/>
              <a:gd name="connsiteY61" fmla="*/ 584663 h 6858000"/>
              <a:gd name="connsiteX62" fmla="*/ 5449423 w 6096000"/>
              <a:gd name="connsiteY62" fmla="*/ 605679 h 6858000"/>
              <a:gd name="connsiteX63" fmla="*/ 5470649 w 6096000"/>
              <a:gd name="connsiteY63" fmla="*/ 605679 h 6858000"/>
              <a:gd name="connsiteX64" fmla="*/ 5471138 w 6096000"/>
              <a:gd name="connsiteY64" fmla="*/ 587925 h 6858000"/>
              <a:gd name="connsiteX65" fmla="*/ 5482602 w 6096000"/>
              <a:gd name="connsiteY65" fmla="*/ 599831 h 6858000"/>
              <a:gd name="connsiteX66" fmla="*/ 5508744 w 6096000"/>
              <a:gd name="connsiteY66" fmla="*/ 607310 h 6858000"/>
              <a:gd name="connsiteX67" fmla="*/ 5549891 w 6096000"/>
              <a:gd name="connsiteY67" fmla="*/ 587226 h 6858000"/>
              <a:gd name="connsiteX68" fmla="*/ 5561075 w 6096000"/>
              <a:gd name="connsiteY68" fmla="*/ 544471 h 6858000"/>
              <a:gd name="connsiteX69" fmla="*/ 5547305 w 6096000"/>
              <a:gd name="connsiteY69" fmla="*/ 500318 h 6858000"/>
              <a:gd name="connsiteX70" fmla="*/ 5510142 w 6096000"/>
              <a:gd name="connsiteY70" fmla="*/ 485359 h 6858000"/>
              <a:gd name="connsiteX71" fmla="*/ 5471837 w 6096000"/>
              <a:gd name="connsiteY71" fmla="*/ 505444 h 6858000"/>
              <a:gd name="connsiteX72" fmla="*/ 5471837 w 6096000"/>
              <a:gd name="connsiteY72" fmla="*/ 443583 h 6858000"/>
              <a:gd name="connsiteX73" fmla="*/ 0 w 6096000"/>
              <a:gd name="connsiteY73" fmla="*/ 0 h 6858000"/>
              <a:gd name="connsiteX74" fmla="*/ 6096000 w 6096000"/>
              <a:gd name="connsiteY74" fmla="*/ 0 h 6858000"/>
              <a:gd name="connsiteX75" fmla="*/ 6096000 w 6096000"/>
              <a:gd name="connsiteY75" fmla="*/ 6858000 h 6858000"/>
              <a:gd name="connsiteX76" fmla="*/ 0 w 6096000"/>
              <a:gd name="connsiteY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0" h="6858000">
                <a:moveTo>
                  <a:pt x="5358881" y="647700"/>
                </a:moveTo>
                <a:cubicBezTo>
                  <a:pt x="5350747" y="659854"/>
                  <a:pt x="5330248" y="689944"/>
                  <a:pt x="5313581" y="729366"/>
                </a:cubicBezTo>
                <a:cubicBezTo>
                  <a:pt x="5284479" y="697983"/>
                  <a:pt x="5254929" y="676755"/>
                  <a:pt x="5243152" y="668105"/>
                </a:cubicBezTo>
                <a:cubicBezTo>
                  <a:pt x="5239673" y="682280"/>
                  <a:pt x="5230716" y="717565"/>
                  <a:pt x="5228554" y="760326"/>
                </a:cubicBezTo>
                <a:cubicBezTo>
                  <a:pt x="5190471" y="740838"/>
                  <a:pt x="5155420" y="730965"/>
                  <a:pt x="5141410" y="726827"/>
                </a:cubicBezTo>
                <a:cubicBezTo>
                  <a:pt x="5142985" y="741378"/>
                  <a:pt x="5146605" y="777604"/>
                  <a:pt x="5159229" y="818508"/>
                </a:cubicBezTo>
                <a:cubicBezTo>
                  <a:pt x="5116750" y="813171"/>
                  <a:pt x="5080478" y="815898"/>
                  <a:pt x="5065857" y="816862"/>
                </a:cubicBezTo>
                <a:cubicBezTo>
                  <a:pt x="5072321" y="829956"/>
                  <a:pt x="5088142" y="862749"/>
                  <a:pt x="5113906" y="896882"/>
                </a:cubicBezTo>
                <a:cubicBezTo>
                  <a:pt x="5072227" y="906403"/>
                  <a:pt x="5039058" y="921378"/>
                  <a:pt x="5025658" y="927278"/>
                </a:cubicBezTo>
                <a:cubicBezTo>
                  <a:pt x="5036237" y="937362"/>
                  <a:pt x="5062306" y="962774"/>
                  <a:pt x="5098226" y="986024"/>
                </a:cubicBezTo>
                <a:cubicBezTo>
                  <a:pt x="5062306" y="1009226"/>
                  <a:pt x="5036237" y="1034709"/>
                  <a:pt x="5025658" y="1044770"/>
                </a:cubicBezTo>
                <a:cubicBezTo>
                  <a:pt x="5039058" y="1050670"/>
                  <a:pt x="5072227" y="1065621"/>
                  <a:pt x="5113906" y="1075142"/>
                </a:cubicBezTo>
                <a:cubicBezTo>
                  <a:pt x="5088142" y="1109275"/>
                  <a:pt x="5072321" y="1142068"/>
                  <a:pt x="5065857" y="1155232"/>
                </a:cubicBezTo>
                <a:cubicBezTo>
                  <a:pt x="5080478" y="1156126"/>
                  <a:pt x="5116750" y="1158852"/>
                  <a:pt x="5159229" y="1153563"/>
                </a:cubicBezTo>
                <a:cubicBezTo>
                  <a:pt x="5146629" y="1194443"/>
                  <a:pt x="5142985" y="1230692"/>
                  <a:pt x="5141410" y="1245221"/>
                </a:cubicBezTo>
                <a:cubicBezTo>
                  <a:pt x="5155420" y="1241106"/>
                  <a:pt x="5190471" y="1231257"/>
                  <a:pt x="5228554" y="1211792"/>
                </a:cubicBezTo>
                <a:cubicBezTo>
                  <a:pt x="5230716" y="1254483"/>
                  <a:pt x="5239673" y="1289768"/>
                  <a:pt x="5243152" y="1303990"/>
                </a:cubicBezTo>
                <a:cubicBezTo>
                  <a:pt x="5254929" y="1295315"/>
                  <a:pt x="5284479" y="1274088"/>
                  <a:pt x="5313581" y="1242752"/>
                </a:cubicBezTo>
                <a:cubicBezTo>
                  <a:pt x="5330248" y="1282151"/>
                  <a:pt x="5350747" y="1312241"/>
                  <a:pt x="5358881" y="1324394"/>
                </a:cubicBezTo>
                <a:cubicBezTo>
                  <a:pt x="5366991" y="1312217"/>
                  <a:pt x="5387489" y="1282151"/>
                  <a:pt x="5404180" y="1242752"/>
                </a:cubicBezTo>
                <a:cubicBezTo>
                  <a:pt x="5433236" y="1274111"/>
                  <a:pt x="5462832" y="1295339"/>
                  <a:pt x="5474609" y="1303990"/>
                </a:cubicBezTo>
                <a:cubicBezTo>
                  <a:pt x="5478065" y="1289768"/>
                  <a:pt x="5487046" y="1254506"/>
                  <a:pt x="5489184" y="1211792"/>
                </a:cubicBezTo>
                <a:cubicBezTo>
                  <a:pt x="5527267" y="1231280"/>
                  <a:pt x="5562294" y="1241130"/>
                  <a:pt x="5576351" y="1245221"/>
                </a:cubicBezTo>
                <a:cubicBezTo>
                  <a:pt x="5574776" y="1230692"/>
                  <a:pt x="5571109" y="1194467"/>
                  <a:pt x="5558509" y="1153563"/>
                </a:cubicBezTo>
                <a:cubicBezTo>
                  <a:pt x="5600964" y="1158877"/>
                  <a:pt x="5637283" y="1156149"/>
                  <a:pt x="5651881" y="1155232"/>
                </a:cubicBezTo>
                <a:cubicBezTo>
                  <a:pt x="5645393" y="1142068"/>
                  <a:pt x="5629644" y="1109299"/>
                  <a:pt x="5603785" y="1075142"/>
                </a:cubicBezTo>
                <a:cubicBezTo>
                  <a:pt x="5645511" y="1065621"/>
                  <a:pt x="5678727" y="1050670"/>
                  <a:pt x="5692056" y="1044770"/>
                </a:cubicBezTo>
                <a:cubicBezTo>
                  <a:pt x="5681502" y="1034685"/>
                  <a:pt x="5655431" y="1009202"/>
                  <a:pt x="5619464" y="986024"/>
                </a:cubicBezTo>
                <a:cubicBezTo>
                  <a:pt x="5655431" y="962774"/>
                  <a:pt x="5681502" y="937362"/>
                  <a:pt x="5692056" y="927278"/>
                </a:cubicBezTo>
                <a:cubicBezTo>
                  <a:pt x="5678727" y="921378"/>
                  <a:pt x="5645534" y="906427"/>
                  <a:pt x="5603785" y="896882"/>
                </a:cubicBezTo>
                <a:cubicBezTo>
                  <a:pt x="5629644" y="862726"/>
                  <a:pt x="5645393" y="829956"/>
                  <a:pt x="5651881" y="816815"/>
                </a:cubicBezTo>
                <a:cubicBezTo>
                  <a:pt x="5637283" y="815922"/>
                  <a:pt x="5600964" y="813195"/>
                  <a:pt x="5558509" y="818508"/>
                </a:cubicBezTo>
                <a:cubicBezTo>
                  <a:pt x="5571109" y="777604"/>
                  <a:pt x="5574776" y="741378"/>
                  <a:pt x="5576351" y="726827"/>
                </a:cubicBezTo>
                <a:cubicBezTo>
                  <a:pt x="5562294" y="730918"/>
                  <a:pt x="5527267" y="740791"/>
                  <a:pt x="5489184" y="760278"/>
                </a:cubicBezTo>
                <a:cubicBezTo>
                  <a:pt x="5487046" y="717565"/>
                  <a:pt x="5478065" y="682280"/>
                  <a:pt x="5474609" y="668105"/>
                </a:cubicBezTo>
                <a:cubicBezTo>
                  <a:pt x="5462832" y="676755"/>
                  <a:pt x="5433236" y="697983"/>
                  <a:pt x="5404180" y="729366"/>
                </a:cubicBezTo>
                <a:cubicBezTo>
                  <a:pt x="5387489" y="689944"/>
                  <a:pt x="5366991" y="659877"/>
                  <a:pt x="5358881" y="647700"/>
                </a:cubicBezTo>
                <a:close/>
                <a:moveTo>
                  <a:pt x="5633981" y="502880"/>
                </a:moveTo>
                <a:lnTo>
                  <a:pt x="5633981" y="502903"/>
                </a:lnTo>
                <a:cubicBezTo>
                  <a:pt x="5659913" y="502903"/>
                  <a:pt x="5666227" y="524875"/>
                  <a:pt x="5666227" y="545891"/>
                </a:cubicBezTo>
                <a:cubicBezTo>
                  <a:pt x="5666227" y="554303"/>
                  <a:pt x="5665062" y="571125"/>
                  <a:pt x="5656651" y="582565"/>
                </a:cubicBezTo>
                <a:cubicBezTo>
                  <a:pt x="5649172" y="592840"/>
                  <a:pt x="5637499" y="594005"/>
                  <a:pt x="5631907" y="594005"/>
                </a:cubicBezTo>
                <a:cubicBezTo>
                  <a:pt x="5601058" y="594005"/>
                  <a:pt x="5598938" y="564811"/>
                  <a:pt x="5598938" y="550551"/>
                </a:cubicBezTo>
                <a:cubicBezTo>
                  <a:pt x="5598938" y="540043"/>
                  <a:pt x="5598938" y="502880"/>
                  <a:pt x="5633981" y="502880"/>
                </a:cubicBezTo>
                <a:close/>
                <a:moveTo>
                  <a:pt x="5505016" y="500318"/>
                </a:moveTo>
                <a:cubicBezTo>
                  <a:pt x="5535655" y="500318"/>
                  <a:pt x="5537985" y="534196"/>
                  <a:pt x="5537985" y="545869"/>
                </a:cubicBezTo>
                <a:cubicBezTo>
                  <a:pt x="5537985" y="565021"/>
                  <a:pt x="5531205" y="591420"/>
                  <a:pt x="5504107" y="591420"/>
                </a:cubicBezTo>
                <a:cubicBezTo>
                  <a:pt x="5471395" y="591420"/>
                  <a:pt x="5471395" y="554746"/>
                  <a:pt x="5471395" y="547034"/>
                </a:cubicBezTo>
                <a:cubicBezTo>
                  <a:pt x="5471395" y="539322"/>
                  <a:pt x="5471395" y="500318"/>
                  <a:pt x="5505016" y="500318"/>
                </a:cubicBezTo>
                <a:close/>
                <a:moveTo>
                  <a:pt x="5639875" y="486547"/>
                </a:moveTo>
                <a:cubicBezTo>
                  <a:pt x="5630299" y="486547"/>
                  <a:pt x="5610890" y="489343"/>
                  <a:pt x="5599916" y="507796"/>
                </a:cubicBezTo>
                <a:lnTo>
                  <a:pt x="5599450" y="488411"/>
                </a:lnTo>
                <a:lnTo>
                  <a:pt x="5577269" y="488411"/>
                </a:lnTo>
                <a:cubicBezTo>
                  <a:pt x="5577735" y="499618"/>
                  <a:pt x="5577968" y="502414"/>
                  <a:pt x="5577968" y="507563"/>
                </a:cubicBezTo>
                <a:lnTo>
                  <a:pt x="5577968" y="650764"/>
                </a:lnTo>
                <a:lnTo>
                  <a:pt x="5599660" y="650764"/>
                </a:lnTo>
                <a:lnTo>
                  <a:pt x="5599660" y="592607"/>
                </a:lnTo>
                <a:cubicBezTo>
                  <a:pt x="5605951" y="602883"/>
                  <a:pt x="5618579" y="610129"/>
                  <a:pt x="5635635" y="610129"/>
                </a:cubicBezTo>
                <a:cubicBezTo>
                  <a:pt x="5663688" y="610129"/>
                  <a:pt x="5689108" y="590976"/>
                  <a:pt x="5689108" y="547289"/>
                </a:cubicBezTo>
                <a:cubicBezTo>
                  <a:pt x="5689108" y="503602"/>
                  <a:pt x="5665086" y="486547"/>
                  <a:pt x="5639875" y="486547"/>
                </a:cubicBezTo>
                <a:close/>
                <a:moveTo>
                  <a:pt x="5449912" y="443583"/>
                </a:moveTo>
                <a:lnTo>
                  <a:pt x="5449912" y="584663"/>
                </a:lnTo>
                <a:lnTo>
                  <a:pt x="5449423" y="605679"/>
                </a:lnTo>
                <a:lnTo>
                  <a:pt x="5470649" y="605679"/>
                </a:lnTo>
                <a:lnTo>
                  <a:pt x="5471138" y="587925"/>
                </a:lnTo>
                <a:cubicBezTo>
                  <a:pt x="5473492" y="591420"/>
                  <a:pt x="5476055" y="595404"/>
                  <a:pt x="5482602" y="599831"/>
                </a:cubicBezTo>
                <a:cubicBezTo>
                  <a:pt x="5492667" y="606611"/>
                  <a:pt x="5503152" y="607310"/>
                  <a:pt x="5508744" y="607310"/>
                </a:cubicBezTo>
                <a:cubicBezTo>
                  <a:pt x="5524867" y="607310"/>
                  <a:pt x="5540525" y="600530"/>
                  <a:pt x="5549891" y="587226"/>
                </a:cubicBezTo>
                <a:cubicBezTo>
                  <a:pt x="5555716" y="579514"/>
                  <a:pt x="5561075" y="567141"/>
                  <a:pt x="5561075" y="544471"/>
                </a:cubicBezTo>
                <a:cubicBezTo>
                  <a:pt x="5561075" y="518771"/>
                  <a:pt x="5553130" y="507098"/>
                  <a:pt x="5547305" y="500318"/>
                </a:cubicBezTo>
                <a:cubicBezTo>
                  <a:pt x="5536564" y="488179"/>
                  <a:pt x="5521815" y="485359"/>
                  <a:pt x="5510142" y="485359"/>
                </a:cubicBezTo>
                <a:cubicBezTo>
                  <a:pt x="5483510" y="485359"/>
                  <a:pt x="5474866" y="500085"/>
                  <a:pt x="5471837" y="505444"/>
                </a:cubicBezTo>
                <a:lnTo>
                  <a:pt x="5471837" y="443583"/>
                </a:ln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14" name="Text Placeholder 9">
            <a:extLst>
              <a:ext uri="{FF2B5EF4-FFF2-40B4-BE49-F238E27FC236}">
                <a16:creationId xmlns:a16="http://schemas.microsoft.com/office/drawing/2014/main" id="{51AC4AB0-0DD7-4046-A799-17D03E1D3663}"/>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5" name="Text Placeholder 9">
            <a:extLst>
              <a:ext uri="{FF2B5EF4-FFF2-40B4-BE49-F238E27FC236}">
                <a16:creationId xmlns:a16="http://schemas.microsoft.com/office/drawing/2014/main" id="{E7E10E79-0FC2-4E58-836F-91C70BED7BC0}"/>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867F2E49-A938-4BDB-9FC4-E6490700236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7988" y="6174856"/>
            <a:ext cx="944562" cy="450814"/>
          </a:xfrm>
          <a:prstGeom prst="rect">
            <a:avLst/>
          </a:prstGeom>
        </p:spPr>
      </p:pic>
      <p:sp>
        <p:nvSpPr>
          <p:cNvPr id="11" name="Text Placeholder 9">
            <a:extLst>
              <a:ext uri="{FF2B5EF4-FFF2-40B4-BE49-F238E27FC236}">
                <a16:creationId xmlns:a16="http://schemas.microsoft.com/office/drawing/2014/main" id="{BE1AA2B6-39FB-4357-ACC1-A261A583D846}"/>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bg1"/>
                </a:solidFill>
              </a:defRPr>
            </a:lvl1pPr>
            <a:lvl2pPr marL="0" indent="0">
              <a:lnSpc>
                <a:spcPct val="90000"/>
              </a:lnSpc>
              <a:spcBef>
                <a:spcPts val="500"/>
              </a:spcBef>
              <a:buNone/>
              <a:defRPr sz="4800">
                <a:solidFill>
                  <a:schemeClr val="accent2"/>
                </a:solidFill>
                <a:latin typeface="+mn-lt"/>
              </a:defRPr>
            </a:lvl2pPr>
            <a:lvl3pPr marL="0" indent="0">
              <a:lnSpc>
                <a:spcPct val="90000"/>
              </a:lnSpc>
              <a:buNone/>
              <a:defRPr sz="4800">
                <a:solidFill>
                  <a:schemeClr val="bg1"/>
                </a:solidFill>
              </a:defRPr>
            </a:lvl3pPr>
            <a:lvl4pPr marL="0" indent="0">
              <a:lnSpc>
                <a:spcPct val="90000"/>
              </a:lnSpc>
              <a:buFont typeface="Arial" panose="020B0604020202020204" pitchFamily="34" charset="0"/>
              <a:buNone/>
              <a:defRPr sz="4800">
                <a:solidFill>
                  <a:schemeClr val="bg1"/>
                </a:solidFill>
              </a:defRPr>
            </a:lvl4pPr>
            <a:lvl5pPr marL="0" indent="0">
              <a:lnSpc>
                <a:spcPct val="90000"/>
              </a:lnSpc>
              <a:buFont typeface="Arial" panose="020B0604020202020204" pitchFamily="34" charset="0"/>
              <a:buNone/>
              <a:defRPr sz="4800">
                <a:solidFill>
                  <a:schemeClr val="bg1"/>
                </a:solidFill>
              </a:defRPr>
            </a:lvl5pPr>
            <a:lvl6pPr>
              <a:defRPr sz="4800">
                <a:solidFill>
                  <a:schemeClr val="bg1"/>
                </a:solidFill>
              </a:defRPr>
            </a:lvl6pPr>
            <a:lvl7pPr>
              <a:defRPr sz="4800">
                <a:solidFill>
                  <a:schemeClr val="bg1"/>
                </a:solidFill>
              </a:defRPr>
            </a:lvl7pPr>
            <a:lvl8pPr>
              <a:defRPr sz="4800">
                <a:solidFill>
                  <a:schemeClr val="bg1"/>
                </a:solidFill>
              </a:defRPr>
            </a:lvl8pPr>
            <a:lvl9pPr>
              <a:defRPr sz="48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987276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Green Title Dark Imag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388298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B0D1E0F-BED2-4D64-BB87-C6238B978DE0}"/>
              </a:ext>
            </a:extLst>
          </p:cNvPr>
          <p:cNvSpPr/>
          <p:nvPr userDrawn="1"/>
        </p:nvSpPr>
        <p:spPr>
          <a:xfrm>
            <a:off x="6096000" y="0"/>
            <a:ext cx="6096000" cy="685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63326588-ADF1-40BC-A2E7-D60C0E52E040}"/>
              </a:ext>
            </a:extLst>
          </p:cNvPr>
          <p:cNvSpPr>
            <a:spLocks noGrp="1"/>
          </p:cNvSpPr>
          <p:nvPr>
            <p:ph type="pic" sz="quarter" idx="14" hasCustomPrompt="1"/>
          </p:nvPr>
        </p:nvSpPr>
        <p:spPr>
          <a:xfrm>
            <a:off x="6096000" y="6"/>
            <a:ext cx="6096000" cy="6857994"/>
          </a:xfrm>
          <a:custGeom>
            <a:avLst/>
            <a:gdLst>
              <a:gd name="connsiteX0" fmla="*/ 5356504 w 6096000"/>
              <a:gd name="connsiteY0" fmla="*/ 1193834 h 6857994"/>
              <a:gd name="connsiteX1" fmla="*/ 5316102 w 6096000"/>
              <a:gd name="connsiteY1" fmla="*/ 1248052 h 6857994"/>
              <a:gd name="connsiteX2" fmla="*/ 5356411 w 6096000"/>
              <a:gd name="connsiteY2" fmla="*/ 1321469 h 6857994"/>
              <a:gd name="connsiteX3" fmla="*/ 5396766 w 6096000"/>
              <a:gd name="connsiteY3" fmla="*/ 1248052 h 6857994"/>
              <a:gd name="connsiteX4" fmla="*/ 5356504 w 6096000"/>
              <a:gd name="connsiteY4" fmla="*/ 1193834 h 6857994"/>
              <a:gd name="connsiteX5" fmla="*/ 5427592 w 6096000"/>
              <a:gd name="connsiteY5" fmla="*/ 1181415 h 6857994"/>
              <a:gd name="connsiteX6" fmla="*/ 5408416 w 6096000"/>
              <a:gd name="connsiteY6" fmla="*/ 1246047 h 6857994"/>
              <a:gd name="connsiteX7" fmla="*/ 5471325 w 6096000"/>
              <a:gd name="connsiteY7" fmla="*/ 1301291 h 6857994"/>
              <a:gd name="connsiteX8" fmla="*/ 5483977 w 6096000"/>
              <a:gd name="connsiteY8" fmla="*/ 1218485 h 6857994"/>
              <a:gd name="connsiteX9" fmla="*/ 5427592 w 6096000"/>
              <a:gd name="connsiteY9" fmla="*/ 1181415 h 6857994"/>
              <a:gd name="connsiteX10" fmla="*/ 5285440 w 6096000"/>
              <a:gd name="connsiteY10" fmla="*/ 1181413 h 6857994"/>
              <a:gd name="connsiteX11" fmla="*/ 5229008 w 6096000"/>
              <a:gd name="connsiteY11" fmla="*/ 1218483 h 6857994"/>
              <a:gd name="connsiteX12" fmla="*/ 5241939 w 6096000"/>
              <a:gd name="connsiteY12" fmla="*/ 1301267 h 6857994"/>
              <a:gd name="connsiteX13" fmla="*/ 5304849 w 6096000"/>
              <a:gd name="connsiteY13" fmla="*/ 1246046 h 6857994"/>
              <a:gd name="connsiteX14" fmla="*/ 5285440 w 6096000"/>
              <a:gd name="connsiteY14" fmla="*/ 1181413 h 6857994"/>
              <a:gd name="connsiteX15" fmla="*/ 5490151 w 6096000"/>
              <a:gd name="connsiteY15" fmla="*/ 1145346 h 6857994"/>
              <a:gd name="connsiteX16" fmla="*/ 5494368 w 6096000"/>
              <a:gd name="connsiteY16" fmla="*/ 1197282 h 6857994"/>
              <a:gd name="connsiteX17" fmla="*/ 5493995 w 6096000"/>
              <a:gd name="connsiteY17" fmla="*/ 1212707 h 6857994"/>
              <a:gd name="connsiteX18" fmla="*/ 5572073 w 6096000"/>
              <a:gd name="connsiteY18" fmla="*/ 1242995 h 6857994"/>
              <a:gd name="connsiteX19" fmla="*/ 5555763 w 6096000"/>
              <a:gd name="connsiteY19" fmla="*/ 1160840 h 6857994"/>
              <a:gd name="connsiteX20" fmla="*/ 5490151 w 6096000"/>
              <a:gd name="connsiteY20" fmla="*/ 1145346 h 6857994"/>
              <a:gd name="connsiteX21" fmla="*/ 5222904 w 6096000"/>
              <a:gd name="connsiteY21" fmla="*/ 1145345 h 6857994"/>
              <a:gd name="connsiteX22" fmla="*/ 5157292 w 6096000"/>
              <a:gd name="connsiteY22" fmla="*/ 1160840 h 6857994"/>
              <a:gd name="connsiteX23" fmla="*/ 5140982 w 6096000"/>
              <a:gd name="connsiteY23" fmla="*/ 1242994 h 6857994"/>
              <a:gd name="connsiteX24" fmla="*/ 5219059 w 6096000"/>
              <a:gd name="connsiteY24" fmla="*/ 1212706 h 6857994"/>
              <a:gd name="connsiteX25" fmla="*/ 5218663 w 6096000"/>
              <a:gd name="connsiteY25" fmla="*/ 1197281 h 6857994"/>
              <a:gd name="connsiteX26" fmla="*/ 5222904 w 6096000"/>
              <a:gd name="connsiteY26" fmla="*/ 1145345 h 6857994"/>
              <a:gd name="connsiteX27" fmla="*/ 5382250 w 6096000"/>
              <a:gd name="connsiteY27" fmla="*/ 1132134 h 6857994"/>
              <a:gd name="connsiteX28" fmla="*/ 5362049 w 6096000"/>
              <a:gd name="connsiteY28" fmla="*/ 1184116 h 6857994"/>
              <a:gd name="connsiteX29" fmla="*/ 5400936 w 6096000"/>
              <a:gd name="connsiteY29" fmla="*/ 1237914 h 6857994"/>
              <a:gd name="connsiteX30" fmla="*/ 5419087 w 6096000"/>
              <a:gd name="connsiteY30" fmla="*/ 1174074 h 6857994"/>
              <a:gd name="connsiteX31" fmla="*/ 5382250 w 6096000"/>
              <a:gd name="connsiteY31" fmla="*/ 1132134 h 6857994"/>
              <a:gd name="connsiteX32" fmla="*/ 5330782 w 6096000"/>
              <a:gd name="connsiteY32" fmla="*/ 1132132 h 6857994"/>
              <a:gd name="connsiteX33" fmla="*/ 5293968 w 6096000"/>
              <a:gd name="connsiteY33" fmla="*/ 1174258 h 6857994"/>
              <a:gd name="connsiteX34" fmla="*/ 5312118 w 6096000"/>
              <a:gd name="connsiteY34" fmla="*/ 1238100 h 6857994"/>
              <a:gd name="connsiteX35" fmla="*/ 5351006 w 6096000"/>
              <a:gd name="connsiteY35" fmla="*/ 1184184 h 6857994"/>
              <a:gd name="connsiteX36" fmla="*/ 5330782 w 6096000"/>
              <a:gd name="connsiteY36" fmla="*/ 1132132 h 6857994"/>
              <a:gd name="connsiteX37" fmla="*/ 5430644 w 6096000"/>
              <a:gd name="connsiteY37" fmla="*/ 1114473 h 6857994"/>
              <a:gd name="connsiteX38" fmla="*/ 5431949 w 6096000"/>
              <a:gd name="connsiteY38" fmla="*/ 1136887 h 6857994"/>
              <a:gd name="connsiteX39" fmla="*/ 5429386 w 6096000"/>
              <a:gd name="connsiteY39" fmla="*/ 1170392 h 6857994"/>
              <a:gd name="connsiteX40" fmla="*/ 5484373 w 6096000"/>
              <a:gd name="connsiteY40" fmla="*/ 1207672 h 6857994"/>
              <a:gd name="connsiteX41" fmla="*/ 5484583 w 6096000"/>
              <a:gd name="connsiteY41" fmla="*/ 1197373 h 6857994"/>
              <a:gd name="connsiteX42" fmla="*/ 5479574 w 6096000"/>
              <a:gd name="connsiteY42" fmla="*/ 1141454 h 6857994"/>
              <a:gd name="connsiteX43" fmla="*/ 5430644 w 6096000"/>
              <a:gd name="connsiteY43" fmla="*/ 1114473 h 6857994"/>
              <a:gd name="connsiteX44" fmla="*/ 5282388 w 6096000"/>
              <a:gd name="connsiteY44" fmla="*/ 1114471 h 6857994"/>
              <a:gd name="connsiteX45" fmla="*/ 5233435 w 6096000"/>
              <a:gd name="connsiteY45" fmla="*/ 1141522 h 6857994"/>
              <a:gd name="connsiteX46" fmla="*/ 5228379 w 6096000"/>
              <a:gd name="connsiteY46" fmla="*/ 1197303 h 6857994"/>
              <a:gd name="connsiteX47" fmla="*/ 5228636 w 6096000"/>
              <a:gd name="connsiteY47" fmla="*/ 1207647 h 6857994"/>
              <a:gd name="connsiteX48" fmla="*/ 5283576 w 6096000"/>
              <a:gd name="connsiteY48" fmla="*/ 1170367 h 6857994"/>
              <a:gd name="connsiteX49" fmla="*/ 5281083 w 6096000"/>
              <a:gd name="connsiteY49" fmla="*/ 1136909 h 6857994"/>
              <a:gd name="connsiteX50" fmla="*/ 5282388 w 6096000"/>
              <a:gd name="connsiteY50" fmla="*/ 1114471 h 6857994"/>
              <a:gd name="connsiteX51" fmla="*/ 5603481 w 6096000"/>
              <a:gd name="connsiteY51" fmla="*/ 1082157 h 6857994"/>
              <a:gd name="connsiteX52" fmla="*/ 5536564 w 6096000"/>
              <a:gd name="connsiteY52" fmla="*/ 1090102 h 6857994"/>
              <a:gd name="connsiteX53" fmla="*/ 5563056 w 6096000"/>
              <a:gd name="connsiteY53" fmla="*/ 1152010 h 6857994"/>
              <a:gd name="connsiteX54" fmla="*/ 5646935 w 6096000"/>
              <a:gd name="connsiteY54" fmla="*/ 1153804 h 6857994"/>
              <a:gd name="connsiteX55" fmla="*/ 5603481 w 6096000"/>
              <a:gd name="connsiteY55" fmla="*/ 1082157 h 6857994"/>
              <a:gd name="connsiteX56" fmla="*/ 5109574 w 6096000"/>
              <a:gd name="connsiteY56" fmla="*/ 1082156 h 6857994"/>
              <a:gd name="connsiteX57" fmla="*/ 5066050 w 6096000"/>
              <a:gd name="connsiteY57" fmla="*/ 1153710 h 6857994"/>
              <a:gd name="connsiteX58" fmla="*/ 5149789 w 6096000"/>
              <a:gd name="connsiteY58" fmla="*/ 1151893 h 6857994"/>
              <a:gd name="connsiteX59" fmla="*/ 5176537 w 6096000"/>
              <a:gd name="connsiteY59" fmla="*/ 1090101 h 6857994"/>
              <a:gd name="connsiteX60" fmla="*/ 5109574 w 6096000"/>
              <a:gd name="connsiteY60" fmla="*/ 1082156 h 6857994"/>
              <a:gd name="connsiteX61" fmla="*/ 5470044 w 6096000"/>
              <a:gd name="connsiteY61" fmla="*/ 1081410 h 6857994"/>
              <a:gd name="connsiteX62" fmla="*/ 5488055 w 6096000"/>
              <a:gd name="connsiteY62" fmla="*/ 1134254 h 6857994"/>
              <a:gd name="connsiteX63" fmla="*/ 5552432 w 6096000"/>
              <a:gd name="connsiteY63" fmla="*/ 1150564 h 6857994"/>
              <a:gd name="connsiteX64" fmla="*/ 5525264 w 6096000"/>
              <a:gd name="connsiteY64" fmla="*/ 1089984 h 6857994"/>
              <a:gd name="connsiteX65" fmla="*/ 5470044 w 6096000"/>
              <a:gd name="connsiteY65" fmla="*/ 1081410 h 6857994"/>
              <a:gd name="connsiteX66" fmla="*/ 5242988 w 6096000"/>
              <a:gd name="connsiteY66" fmla="*/ 1081410 h 6857994"/>
              <a:gd name="connsiteX67" fmla="*/ 5187744 w 6096000"/>
              <a:gd name="connsiteY67" fmla="*/ 1090031 h 6857994"/>
              <a:gd name="connsiteX68" fmla="*/ 5160623 w 6096000"/>
              <a:gd name="connsiteY68" fmla="*/ 1150610 h 6857994"/>
              <a:gd name="connsiteX69" fmla="*/ 5224977 w 6096000"/>
              <a:gd name="connsiteY69" fmla="*/ 1134300 h 6857994"/>
              <a:gd name="connsiteX70" fmla="*/ 5242988 w 6096000"/>
              <a:gd name="connsiteY70" fmla="*/ 1081410 h 6857994"/>
              <a:gd name="connsiteX71" fmla="*/ 5356504 w 6096000"/>
              <a:gd name="connsiteY71" fmla="*/ 1076631 h 6857994"/>
              <a:gd name="connsiteX72" fmla="*/ 5338051 w 6096000"/>
              <a:gd name="connsiteY72" fmla="*/ 1120574 h 6857994"/>
              <a:gd name="connsiteX73" fmla="*/ 5356504 w 6096000"/>
              <a:gd name="connsiteY73" fmla="*/ 1173581 h 6857994"/>
              <a:gd name="connsiteX74" fmla="*/ 5374958 w 6096000"/>
              <a:gd name="connsiteY74" fmla="*/ 1120574 h 6857994"/>
              <a:gd name="connsiteX75" fmla="*/ 5356504 w 6096000"/>
              <a:gd name="connsiteY75" fmla="*/ 1076631 h 6857994"/>
              <a:gd name="connsiteX76" fmla="*/ 5387469 w 6096000"/>
              <a:gd name="connsiteY76" fmla="*/ 1071180 h 6857994"/>
              <a:gd name="connsiteX77" fmla="*/ 5388168 w 6096000"/>
              <a:gd name="connsiteY77" fmla="*/ 1085603 h 6857994"/>
              <a:gd name="connsiteX78" fmla="*/ 5385116 w 6096000"/>
              <a:gd name="connsiteY78" fmla="*/ 1118758 h 6857994"/>
              <a:gd name="connsiteX79" fmla="*/ 5420508 w 6096000"/>
              <a:gd name="connsiteY79" fmla="*/ 1162212 h 6857994"/>
              <a:gd name="connsiteX80" fmla="*/ 5422139 w 6096000"/>
              <a:gd name="connsiteY80" fmla="*/ 1136839 h 6857994"/>
              <a:gd name="connsiteX81" fmla="*/ 5419809 w 6096000"/>
              <a:gd name="connsiteY81" fmla="*/ 1106130 h 6857994"/>
              <a:gd name="connsiteX82" fmla="*/ 5387469 w 6096000"/>
              <a:gd name="connsiteY82" fmla="*/ 1071180 h 6857994"/>
              <a:gd name="connsiteX83" fmla="*/ 5325562 w 6096000"/>
              <a:gd name="connsiteY83" fmla="*/ 1071179 h 6857994"/>
              <a:gd name="connsiteX84" fmla="*/ 5293152 w 6096000"/>
              <a:gd name="connsiteY84" fmla="*/ 1106175 h 6857994"/>
              <a:gd name="connsiteX85" fmla="*/ 5290823 w 6096000"/>
              <a:gd name="connsiteY85" fmla="*/ 1136908 h 6857994"/>
              <a:gd name="connsiteX86" fmla="*/ 5292430 w 6096000"/>
              <a:gd name="connsiteY86" fmla="*/ 1162258 h 6857994"/>
              <a:gd name="connsiteX87" fmla="*/ 5327869 w 6096000"/>
              <a:gd name="connsiteY87" fmla="*/ 1118757 h 6857994"/>
              <a:gd name="connsiteX88" fmla="*/ 5324887 w 6096000"/>
              <a:gd name="connsiteY88" fmla="*/ 1085602 h 6857994"/>
              <a:gd name="connsiteX89" fmla="*/ 5325562 w 6096000"/>
              <a:gd name="connsiteY89" fmla="*/ 1071179 h 6857994"/>
              <a:gd name="connsiteX90" fmla="*/ 5414684 w 6096000"/>
              <a:gd name="connsiteY90" fmla="*/ 1055430 h 6857994"/>
              <a:gd name="connsiteX91" fmla="*/ 5428827 w 6096000"/>
              <a:gd name="connsiteY91" fmla="*/ 1101051 h 6857994"/>
              <a:gd name="connsiteX92" fmla="*/ 5477011 w 6096000"/>
              <a:gd name="connsiteY92" fmla="*/ 1129779 h 6857994"/>
              <a:gd name="connsiteX93" fmla="*/ 5457066 w 6096000"/>
              <a:gd name="connsiteY93" fmla="*/ 1077332 h 6857994"/>
              <a:gd name="connsiteX94" fmla="*/ 5414684 w 6096000"/>
              <a:gd name="connsiteY94" fmla="*/ 1055430 h 6857994"/>
              <a:gd name="connsiteX95" fmla="*/ 5298348 w 6096000"/>
              <a:gd name="connsiteY95" fmla="*/ 1055429 h 6857994"/>
              <a:gd name="connsiteX96" fmla="*/ 5255989 w 6096000"/>
              <a:gd name="connsiteY96" fmla="*/ 1077330 h 6857994"/>
              <a:gd name="connsiteX97" fmla="*/ 5235998 w 6096000"/>
              <a:gd name="connsiteY97" fmla="*/ 1129708 h 6857994"/>
              <a:gd name="connsiteX98" fmla="*/ 5284252 w 6096000"/>
              <a:gd name="connsiteY98" fmla="*/ 1100980 h 6857994"/>
              <a:gd name="connsiteX99" fmla="*/ 5298348 w 6096000"/>
              <a:gd name="connsiteY99" fmla="*/ 1055429 h 6857994"/>
              <a:gd name="connsiteX100" fmla="*/ 5278193 w 6096000"/>
              <a:gd name="connsiteY100" fmla="*/ 1031383 h 6857994"/>
              <a:gd name="connsiteX101" fmla="*/ 5230779 w 6096000"/>
              <a:gd name="connsiteY101" fmla="*/ 1037464 h 6857994"/>
              <a:gd name="connsiteX102" fmla="*/ 5194198 w 6096000"/>
              <a:gd name="connsiteY102" fmla="*/ 1079870 h 6857994"/>
              <a:gd name="connsiteX103" fmla="*/ 5249302 w 6096000"/>
              <a:gd name="connsiteY103" fmla="*/ 1069315 h 6857994"/>
              <a:gd name="connsiteX104" fmla="*/ 5278193 w 6096000"/>
              <a:gd name="connsiteY104" fmla="*/ 1031383 h 6857994"/>
              <a:gd name="connsiteX105" fmla="*/ 5434861 w 6096000"/>
              <a:gd name="connsiteY105" fmla="*/ 1031360 h 6857994"/>
              <a:gd name="connsiteX106" fmla="*/ 5463706 w 6096000"/>
              <a:gd name="connsiteY106" fmla="*/ 1069316 h 6857994"/>
              <a:gd name="connsiteX107" fmla="*/ 5518833 w 6096000"/>
              <a:gd name="connsiteY107" fmla="*/ 1079871 h 6857994"/>
              <a:gd name="connsiteX108" fmla="*/ 5482299 w 6096000"/>
              <a:gd name="connsiteY108" fmla="*/ 1037465 h 6857994"/>
              <a:gd name="connsiteX109" fmla="*/ 5434861 w 6096000"/>
              <a:gd name="connsiteY109" fmla="*/ 1031360 h 6857994"/>
              <a:gd name="connsiteX110" fmla="*/ 5550544 w 6096000"/>
              <a:gd name="connsiteY110" fmla="*/ 1026073 h 6857994"/>
              <a:gd name="connsiteX111" fmla="*/ 5495720 w 6096000"/>
              <a:gd name="connsiteY111" fmla="*/ 1036931 h 6857994"/>
              <a:gd name="connsiteX112" fmla="*/ 5530786 w 6096000"/>
              <a:gd name="connsiteY112" fmla="*/ 1080571 h 6857994"/>
              <a:gd name="connsiteX113" fmla="*/ 5596748 w 6096000"/>
              <a:gd name="connsiteY113" fmla="*/ 1073744 h 6857994"/>
              <a:gd name="connsiteX114" fmla="*/ 5550544 w 6096000"/>
              <a:gd name="connsiteY114" fmla="*/ 1026073 h 6857994"/>
              <a:gd name="connsiteX115" fmla="*/ 5162441 w 6096000"/>
              <a:gd name="connsiteY115" fmla="*/ 1026072 h 6857994"/>
              <a:gd name="connsiteX116" fmla="*/ 5116424 w 6096000"/>
              <a:gd name="connsiteY116" fmla="*/ 1073628 h 6857994"/>
              <a:gd name="connsiteX117" fmla="*/ 5182409 w 6096000"/>
              <a:gd name="connsiteY117" fmla="*/ 1080455 h 6857994"/>
              <a:gd name="connsiteX118" fmla="*/ 5217358 w 6096000"/>
              <a:gd name="connsiteY118" fmla="*/ 1036813 h 6857994"/>
              <a:gd name="connsiteX119" fmla="*/ 5162441 w 6096000"/>
              <a:gd name="connsiteY119" fmla="*/ 1026072 h 6857994"/>
              <a:gd name="connsiteX120" fmla="*/ 5621468 w 6096000"/>
              <a:gd name="connsiteY120" fmla="*/ 991893 h 6857994"/>
              <a:gd name="connsiteX121" fmla="*/ 5561192 w 6096000"/>
              <a:gd name="connsiteY121" fmla="*/ 1022229 h 6857994"/>
              <a:gd name="connsiteX122" fmla="*/ 5607489 w 6096000"/>
              <a:gd name="connsiteY122" fmla="*/ 1071323 h 6857994"/>
              <a:gd name="connsiteX123" fmla="*/ 5686708 w 6096000"/>
              <a:gd name="connsiteY123" fmla="*/ 1044364 h 6857994"/>
              <a:gd name="connsiteX124" fmla="*/ 5621468 w 6096000"/>
              <a:gd name="connsiteY124" fmla="*/ 991893 h 6857994"/>
              <a:gd name="connsiteX125" fmla="*/ 5091540 w 6096000"/>
              <a:gd name="connsiteY125" fmla="*/ 991893 h 6857994"/>
              <a:gd name="connsiteX126" fmla="*/ 5026301 w 6096000"/>
              <a:gd name="connsiteY126" fmla="*/ 1044364 h 6857994"/>
              <a:gd name="connsiteX127" fmla="*/ 5105520 w 6096000"/>
              <a:gd name="connsiteY127" fmla="*/ 1071323 h 6857994"/>
              <a:gd name="connsiteX128" fmla="*/ 5151840 w 6096000"/>
              <a:gd name="connsiteY128" fmla="*/ 1022183 h 6857994"/>
              <a:gd name="connsiteX129" fmla="*/ 5091540 w 6096000"/>
              <a:gd name="connsiteY129" fmla="*/ 991893 h 6857994"/>
              <a:gd name="connsiteX130" fmla="*/ 5492108 w 6096000"/>
              <a:gd name="connsiteY130" fmla="*/ 991284 h 6857994"/>
              <a:gd name="connsiteX131" fmla="*/ 5445695 w 6096000"/>
              <a:gd name="connsiteY131" fmla="*/ 1001885 h 6857994"/>
              <a:gd name="connsiteX132" fmla="*/ 5485677 w 6096000"/>
              <a:gd name="connsiteY132" fmla="*/ 1027655 h 6857994"/>
              <a:gd name="connsiteX133" fmla="*/ 5541037 w 6096000"/>
              <a:gd name="connsiteY133" fmla="*/ 1018708 h 6857994"/>
              <a:gd name="connsiteX134" fmla="*/ 5492108 w 6096000"/>
              <a:gd name="connsiteY134" fmla="*/ 991284 h 6857994"/>
              <a:gd name="connsiteX135" fmla="*/ 5220900 w 6096000"/>
              <a:gd name="connsiteY135" fmla="*/ 991284 h 6857994"/>
              <a:gd name="connsiteX136" fmla="*/ 5171947 w 6096000"/>
              <a:gd name="connsiteY136" fmla="*/ 1018615 h 6857994"/>
              <a:gd name="connsiteX137" fmla="*/ 5227330 w 6096000"/>
              <a:gd name="connsiteY137" fmla="*/ 1027562 h 6857994"/>
              <a:gd name="connsiteX138" fmla="*/ 5267336 w 6096000"/>
              <a:gd name="connsiteY138" fmla="*/ 1001932 h 6857994"/>
              <a:gd name="connsiteX139" fmla="*/ 5220900 w 6096000"/>
              <a:gd name="connsiteY139" fmla="*/ 991284 h 6857994"/>
              <a:gd name="connsiteX140" fmla="*/ 5160507 w 6096000"/>
              <a:gd name="connsiteY140" fmla="*/ 957199 h 6857994"/>
              <a:gd name="connsiteX141" fmla="*/ 5100860 w 6096000"/>
              <a:gd name="connsiteY141" fmla="*/ 986183 h 6857994"/>
              <a:gd name="connsiteX142" fmla="*/ 5160507 w 6096000"/>
              <a:gd name="connsiteY142" fmla="*/ 1015076 h 6857994"/>
              <a:gd name="connsiteX143" fmla="*/ 5208295 w 6096000"/>
              <a:gd name="connsiteY143" fmla="*/ 986183 h 6857994"/>
              <a:gd name="connsiteX144" fmla="*/ 5160507 w 6096000"/>
              <a:gd name="connsiteY144" fmla="*/ 957199 h 6857994"/>
              <a:gd name="connsiteX145" fmla="*/ 5552525 w 6096000"/>
              <a:gd name="connsiteY145" fmla="*/ 957198 h 6857994"/>
              <a:gd name="connsiteX146" fmla="*/ 5504714 w 6096000"/>
              <a:gd name="connsiteY146" fmla="*/ 986183 h 6857994"/>
              <a:gd name="connsiteX147" fmla="*/ 5552525 w 6096000"/>
              <a:gd name="connsiteY147" fmla="*/ 1015075 h 6857994"/>
              <a:gd name="connsiteX148" fmla="*/ 5612219 w 6096000"/>
              <a:gd name="connsiteY148" fmla="*/ 986136 h 6857994"/>
              <a:gd name="connsiteX149" fmla="*/ 5552525 w 6096000"/>
              <a:gd name="connsiteY149" fmla="*/ 957198 h 6857994"/>
              <a:gd name="connsiteX150" fmla="*/ 5227330 w 6096000"/>
              <a:gd name="connsiteY150" fmla="*/ 944522 h 6857994"/>
              <a:gd name="connsiteX151" fmla="*/ 5171970 w 6096000"/>
              <a:gd name="connsiteY151" fmla="*/ 953492 h 6857994"/>
              <a:gd name="connsiteX152" fmla="*/ 5220899 w 6096000"/>
              <a:gd name="connsiteY152" fmla="*/ 980870 h 6857994"/>
              <a:gd name="connsiteX153" fmla="*/ 5267289 w 6096000"/>
              <a:gd name="connsiteY153" fmla="*/ 970268 h 6857994"/>
              <a:gd name="connsiteX154" fmla="*/ 5227330 w 6096000"/>
              <a:gd name="connsiteY154" fmla="*/ 944522 h 6857994"/>
              <a:gd name="connsiteX155" fmla="*/ 5485724 w 6096000"/>
              <a:gd name="connsiteY155" fmla="*/ 944522 h 6857994"/>
              <a:gd name="connsiteX156" fmla="*/ 5445695 w 6096000"/>
              <a:gd name="connsiteY156" fmla="*/ 970361 h 6857994"/>
              <a:gd name="connsiteX157" fmla="*/ 5492155 w 6096000"/>
              <a:gd name="connsiteY157" fmla="*/ 980870 h 6857994"/>
              <a:gd name="connsiteX158" fmla="*/ 5541084 w 6096000"/>
              <a:gd name="connsiteY158" fmla="*/ 953492 h 6857994"/>
              <a:gd name="connsiteX159" fmla="*/ 5485724 w 6096000"/>
              <a:gd name="connsiteY159" fmla="*/ 944522 h 6857994"/>
              <a:gd name="connsiteX160" fmla="*/ 5105520 w 6096000"/>
              <a:gd name="connsiteY160" fmla="*/ 900931 h 6857994"/>
              <a:gd name="connsiteX161" fmla="*/ 5026301 w 6096000"/>
              <a:gd name="connsiteY161" fmla="*/ 927889 h 6857994"/>
              <a:gd name="connsiteX162" fmla="*/ 5091587 w 6096000"/>
              <a:gd name="connsiteY162" fmla="*/ 980360 h 6857994"/>
              <a:gd name="connsiteX163" fmla="*/ 5151886 w 6096000"/>
              <a:gd name="connsiteY163" fmla="*/ 950070 h 6857994"/>
              <a:gd name="connsiteX164" fmla="*/ 5105520 w 6096000"/>
              <a:gd name="connsiteY164" fmla="*/ 900931 h 6857994"/>
              <a:gd name="connsiteX165" fmla="*/ 5607418 w 6096000"/>
              <a:gd name="connsiteY165" fmla="*/ 900908 h 6857994"/>
              <a:gd name="connsiteX166" fmla="*/ 5561052 w 6096000"/>
              <a:gd name="connsiteY166" fmla="*/ 950094 h 6857994"/>
              <a:gd name="connsiteX167" fmla="*/ 5621398 w 6096000"/>
              <a:gd name="connsiteY167" fmla="*/ 980383 h 6857994"/>
              <a:gd name="connsiteX168" fmla="*/ 5686638 w 6096000"/>
              <a:gd name="connsiteY168" fmla="*/ 927889 h 6857994"/>
              <a:gd name="connsiteX169" fmla="*/ 5607418 w 6096000"/>
              <a:gd name="connsiteY169" fmla="*/ 900908 h 6857994"/>
              <a:gd name="connsiteX170" fmla="*/ 5194198 w 6096000"/>
              <a:gd name="connsiteY170" fmla="*/ 892424 h 6857994"/>
              <a:gd name="connsiteX171" fmla="*/ 5230779 w 6096000"/>
              <a:gd name="connsiteY171" fmla="*/ 934806 h 6857994"/>
              <a:gd name="connsiteX172" fmla="*/ 5278147 w 6096000"/>
              <a:gd name="connsiteY172" fmla="*/ 940911 h 6857994"/>
              <a:gd name="connsiteX173" fmla="*/ 5249302 w 6096000"/>
              <a:gd name="connsiteY173" fmla="*/ 902932 h 6857994"/>
              <a:gd name="connsiteX174" fmla="*/ 5194198 w 6096000"/>
              <a:gd name="connsiteY174" fmla="*/ 892424 h 6857994"/>
              <a:gd name="connsiteX175" fmla="*/ 5518833 w 6096000"/>
              <a:gd name="connsiteY175" fmla="*/ 892424 h 6857994"/>
              <a:gd name="connsiteX176" fmla="*/ 5463706 w 6096000"/>
              <a:gd name="connsiteY176" fmla="*/ 902932 h 6857994"/>
              <a:gd name="connsiteX177" fmla="*/ 5434861 w 6096000"/>
              <a:gd name="connsiteY177" fmla="*/ 940911 h 6857994"/>
              <a:gd name="connsiteX178" fmla="*/ 5482299 w 6096000"/>
              <a:gd name="connsiteY178" fmla="*/ 934806 h 6857994"/>
              <a:gd name="connsiteX179" fmla="*/ 5518833 w 6096000"/>
              <a:gd name="connsiteY179" fmla="*/ 892424 h 6857994"/>
              <a:gd name="connsiteX180" fmla="*/ 5182199 w 6096000"/>
              <a:gd name="connsiteY180" fmla="*/ 891844 h 6857994"/>
              <a:gd name="connsiteX181" fmla="*/ 5116121 w 6096000"/>
              <a:gd name="connsiteY181" fmla="*/ 898670 h 6857994"/>
              <a:gd name="connsiteX182" fmla="*/ 5162348 w 6096000"/>
              <a:gd name="connsiteY182" fmla="*/ 946295 h 6857994"/>
              <a:gd name="connsiteX183" fmla="*/ 5217149 w 6096000"/>
              <a:gd name="connsiteY183" fmla="*/ 935461 h 6857994"/>
              <a:gd name="connsiteX184" fmla="*/ 5182199 w 6096000"/>
              <a:gd name="connsiteY184" fmla="*/ 891844 h 6857994"/>
              <a:gd name="connsiteX185" fmla="*/ 5530786 w 6096000"/>
              <a:gd name="connsiteY185" fmla="*/ 891842 h 6857994"/>
              <a:gd name="connsiteX186" fmla="*/ 5495720 w 6096000"/>
              <a:gd name="connsiteY186" fmla="*/ 935460 h 6857994"/>
              <a:gd name="connsiteX187" fmla="*/ 5550544 w 6096000"/>
              <a:gd name="connsiteY187" fmla="*/ 946294 h 6857994"/>
              <a:gd name="connsiteX188" fmla="*/ 5596841 w 6096000"/>
              <a:gd name="connsiteY188" fmla="*/ 898669 h 6857994"/>
              <a:gd name="connsiteX189" fmla="*/ 5530786 w 6096000"/>
              <a:gd name="connsiteY189" fmla="*/ 891842 h 6857994"/>
              <a:gd name="connsiteX190" fmla="*/ 5235998 w 6096000"/>
              <a:gd name="connsiteY190" fmla="*/ 842563 h 6857994"/>
              <a:gd name="connsiteX191" fmla="*/ 5255943 w 6096000"/>
              <a:gd name="connsiteY191" fmla="*/ 895033 h 6857994"/>
              <a:gd name="connsiteX192" fmla="*/ 5298301 w 6096000"/>
              <a:gd name="connsiteY192" fmla="*/ 916842 h 6857994"/>
              <a:gd name="connsiteX193" fmla="*/ 5284205 w 6096000"/>
              <a:gd name="connsiteY193" fmla="*/ 871291 h 6857994"/>
              <a:gd name="connsiteX194" fmla="*/ 5235998 w 6096000"/>
              <a:gd name="connsiteY194" fmla="*/ 842563 h 6857994"/>
              <a:gd name="connsiteX195" fmla="*/ 5477011 w 6096000"/>
              <a:gd name="connsiteY195" fmla="*/ 842561 h 6857994"/>
              <a:gd name="connsiteX196" fmla="*/ 5428827 w 6096000"/>
              <a:gd name="connsiteY196" fmla="*/ 871290 h 6857994"/>
              <a:gd name="connsiteX197" fmla="*/ 5414684 w 6096000"/>
              <a:gd name="connsiteY197" fmla="*/ 916841 h 6857994"/>
              <a:gd name="connsiteX198" fmla="*/ 5457066 w 6096000"/>
              <a:gd name="connsiteY198" fmla="*/ 895032 h 6857994"/>
              <a:gd name="connsiteX199" fmla="*/ 5477011 w 6096000"/>
              <a:gd name="connsiteY199" fmla="*/ 842561 h 6857994"/>
              <a:gd name="connsiteX200" fmla="*/ 5160623 w 6096000"/>
              <a:gd name="connsiteY200" fmla="*/ 821781 h 6857994"/>
              <a:gd name="connsiteX201" fmla="*/ 5187744 w 6096000"/>
              <a:gd name="connsiteY201" fmla="*/ 882337 h 6857994"/>
              <a:gd name="connsiteX202" fmla="*/ 5242988 w 6096000"/>
              <a:gd name="connsiteY202" fmla="*/ 890935 h 6857994"/>
              <a:gd name="connsiteX203" fmla="*/ 5224977 w 6096000"/>
              <a:gd name="connsiteY203" fmla="*/ 837951 h 6857994"/>
              <a:gd name="connsiteX204" fmla="*/ 5160623 w 6096000"/>
              <a:gd name="connsiteY204" fmla="*/ 821781 h 6857994"/>
              <a:gd name="connsiteX205" fmla="*/ 5552432 w 6096000"/>
              <a:gd name="connsiteY205" fmla="*/ 821756 h 6857994"/>
              <a:gd name="connsiteX206" fmla="*/ 5488055 w 6096000"/>
              <a:gd name="connsiteY206" fmla="*/ 837996 h 6857994"/>
              <a:gd name="connsiteX207" fmla="*/ 5470044 w 6096000"/>
              <a:gd name="connsiteY207" fmla="*/ 890933 h 6857994"/>
              <a:gd name="connsiteX208" fmla="*/ 5525264 w 6096000"/>
              <a:gd name="connsiteY208" fmla="*/ 882335 h 6857994"/>
              <a:gd name="connsiteX209" fmla="*/ 5552432 w 6096000"/>
              <a:gd name="connsiteY209" fmla="*/ 821756 h 6857994"/>
              <a:gd name="connsiteX210" fmla="*/ 5066143 w 6096000"/>
              <a:gd name="connsiteY210" fmla="*/ 818450 h 6857994"/>
              <a:gd name="connsiteX211" fmla="*/ 5109480 w 6096000"/>
              <a:gd name="connsiteY211" fmla="*/ 890120 h 6857994"/>
              <a:gd name="connsiteX212" fmla="*/ 5176444 w 6096000"/>
              <a:gd name="connsiteY212" fmla="*/ 882151 h 6857994"/>
              <a:gd name="connsiteX213" fmla="*/ 5149789 w 6096000"/>
              <a:gd name="connsiteY213" fmla="*/ 820291 h 6857994"/>
              <a:gd name="connsiteX214" fmla="*/ 5066143 w 6096000"/>
              <a:gd name="connsiteY214" fmla="*/ 818450 h 6857994"/>
              <a:gd name="connsiteX215" fmla="*/ 5646935 w 6096000"/>
              <a:gd name="connsiteY215" fmla="*/ 818450 h 6857994"/>
              <a:gd name="connsiteX216" fmla="*/ 5563219 w 6096000"/>
              <a:gd name="connsiteY216" fmla="*/ 820267 h 6857994"/>
              <a:gd name="connsiteX217" fmla="*/ 5536564 w 6096000"/>
              <a:gd name="connsiteY217" fmla="*/ 882151 h 6857994"/>
              <a:gd name="connsiteX218" fmla="*/ 5603481 w 6096000"/>
              <a:gd name="connsiteY218" fmla="*/ 890120 h 6857994"/>
              <a:gd name="connsiteX219" fmla="*/ 5646935 w 6096000"/>
              <a:gd name="connsiteY219" fmla="*/ 818450 h 6857994"/>
              <a:gd name="connsiteX220" fmla="*/ 5292430 w 6096000"/>
              <a:gd name="connsiteY220" fmla="*/ 810013 h 6857994"/>
              <a:gd name="connsiteX221" fmla="*/ 5290822 w 6096000"/>
              <a:gd name="connsiteY221" fmla="*/ 835363 h 6857994"/>
              <a:gd name="connsiteX222" fmla="*/ 5293222 w 6096000"/>
              <a:gd name="connsiteY222" fmla="*/ 866119 h 6857994"/>
              <a:gd name="connsiteX223" fmla="*/ 5325562 w 6096000"/>
              <a:gd name="connsiteY223" fmla="*/ 901068 h 6857994"/>
              <a:gd name="connsiteX224" fmla="*/ 5324886 w 6096000"/>
              <a:gd name="connsiteY224" fmla="*/ 886669 h 6857994"/>
              <a:gd name="connsiteX225" fmla="*/ 5327869 w 6096000"/>
              <a:gd name="connsiteY225" fmla="*/ 853514 h 6857994"/>
              <a:gd name="connsiteX226" fmla="*/ 5292430 w 6096000"/>
              <a:gd name="connsiteY226" fmla="*/ 810013 h 6857994"/>
              <a:gd name="connsiteX227" fmla="*/ 5420601 w 6096000"/>
              <a:gd name="connsiteY227" fmla="*/ 810011 h 6857994"/>
              <a:gd name="connsiteX228" fmla="*/ 5385116 w 6096000"/>
              <a:gd name="connsiteY228" fmla="*/ 853512 h 6857994"/>
              <a:gd name="connsiteX229" fmla="*/ 5388238 w 6096000"/>
              <a:gd name="connsiteY229" fmla="*/ 886667 h 6857994"/>
              <a:gd name="connsiteX230" fmla="*/ 5387539 w 6096000"/>
              <a:gd name="connsiteY230" fmla="*/ 901066 h 6857994"/>
              <a:gd name="connsiteX231" fmla="*/ 5419902 w 6096000"/>
              <a:gd name="connsiteY231" fmla="*/ 866117 h 6857994"/>
              <a:gd name="connsiteX232" fmla="*/ 5422232 w 6096000"/>
              <a:gd name="connsiteY232" fmla="*/ 835361 h 6857994"/>
              <a:gd name="connsiteX233" fmla="*/ 5420601 w 6096000"/>
              <a:gd name="connsiteY233" fmla="*/ 810011 h 6857994"/>
              <a:gd name="connsiteX234" fmla="*/ 5356504 w 6096000"/>
              <a:gd name="connsiteY234" fmla="*/ 798711 h 6857994"/>
              <a:gd name="connsiteX235" fmla="*/ 5338051 w 6096000"/>
              <a:gd name="connsiteY235" fmla="*/ 851671 h 6857994"/>
              <a:gd name="connsiteX236" fmla="*/ 5356504 w 6096000"/>
              <a:gd name="connsiteY236" fmla="*/ 895591 h 6857994"/>
              <a:gd name="connsiteX237" fmla="*/ 5374981 w 6096000"/>
              <a:gd name="connsiteY237" fmla="*/ 851718 h 6857994"/>
              <a:gd name="connsiteX238" fmla="*/ 5356504 w 6096000"/>
              <a:gd name="connsiteY238" fmla="*/ 798711 h 6857994"/>
              <a:gd name="connsiteX239" fmla="*/ 5228635 w 6096000"/>
              <a:gd name="connsiteY239" fmla="*/ 764673 h 6857994"/>
              <a:gd name="connsiteX240" fmla="*/ 5228379 w 6096000"/>
              <a:gd name="connsiteY240" fmla="*/ 775065 h 6857994"/>
              <a:gd name="connsiteX241" fmla="*/ 5233458 w 6096000"/>
              <a:gd name="connsiteY241" fmla="*/ 830891 h 6857994"/>
              <a:gd name="connsiteX242" fmla="*/ 5282388 w 6096000"/>
              <a:gd name="connsiteY242" fmla="*/ 857802 h 6857994"/>
              <a:gd name="connsiteX243" fmla="*/ 5281083 w 6096000"/>
              <a:gd name="connsiteY243" fmla="*/ 835411 h 6857994"/>
              <a:gd name="connsiteX244" fmla="*/ 5283576 w 6096000"/>
              <a:gd name="connsiteY244" fmla="*/ 801953 h 6857994"/>
              <a:gd name="connsiteX245" fmla="*/ 5228635 w 6096000"/>
              <a:gd name="connsiteY245" fmla="*/ 764673 h 6857994"/>
              <a:gd name="connsiteX246" fmla="*/ 5484373 w 6096000"/>
              <a:gd name="connsiteY246" fmla="*/ 764672 h 6857994"/>
              <a:gd name="connsiteX247" fmla="*/ 5429386 w 6096000"/>
              <a:gd name="connsiteY247" fmla="*/ 801882 h 6857994"/>
              <a:gd name="connsiteX248" fmla="*/ 5431996 w 6096000"/>
              <a:gd name="connsiteY248" fmla="*/ 835457 h 6857994"/>
              <a:gd name="connsiteX249" fmla="*/ 5430691 w 6096000"/>
              <a:gd name="connsiteY249" fmla="*/ 857871 h 6857994"/>
              <a:gd name="connsiteX250" fmla="*/ 5479620 w 6096000"/>
              <a:gd name="connsiteY250" fmla="*/ 830936 h 6857994"/>
              <a:gd name="connsiteX251" fmla="*/ 5484630 w 6096000"/>
              <a:gd name="connsiteY251" fmla="*/ 775017 h 6857994"/>
              <a:gd name="connsiteX252" fmla="*/ 5484373 w 6096000"/>
              <a:gd name="connsiteY252" fmla="*/ 764672 h 6857994"/>
              <a:gd name="connsiteX253" fmla="*/ 5312118 w 6096000"/>
              <a:gd name="connsiteY253" fmla="*/ 734314 h 6857994"/>
              <a:gd name="connsiteX254" fmla="*/ 5293968 w 6096000"/>
              <a:gd name="connsiteY254" fmla="*/ 798225 h 6857994"/>
              <a:gd name="connsiteX255" fmla="*/ 5330782 w 6096000"/>
              <a:gd name="connsiteY255" fmla="*/ 840165 h 6857994"/>
              <a:gd name="connsiteX256" fmla="*/ 5351006 w 6096000"/>
              <a:gd name="connsiteY256" fmla="*/ 788067 h 6857994"/>
              <a:gd name="connsiteX257" fmla="*/ 5312118 w 6096000"/>
              <a:gd name="connsiteY257" fmla="*/ 734314 h 6857994"/>
              <a:gd name="connsiteX258" fmla="*/ 5400913 w 6096000"/>
              <a:gd name="connsiteY258" fmla="*/ 734313 h 6857994"/>
              <a:gd name="connsiteX259" fmla="*/ 5362049 w 6096000"/>
              <a:gd name="connsiteY259" fmla="*/ 788066 h 6857994"/>
              <a:gd name="connsiteX260" fmla="*/ 5382250 w 6096000"/>
              <a:gd name="connsiteY260" fmla="*/ 840164 h 6857994"/>
              <a:gd name="connsiteX261" fmla="*/ 5419087 w 6096000"/>
              <a:gd name="connsiteY261" fmla="*/ 798108 h 6857994"/>
              <a:gd name="connsiteX262" fmla="*/ 5400913 w 6096000"/>
              <a:gd name="connsiteY262" fmla="*/ 734313 h 6857994"/>
              <a:gd name="connsiteX263" fmla="*/ 5140982 w 6096000"/>
              <a:gd name="connsiteY263" fmla="*/ 729260 h 6857994"/>
              <a:gd name="connsiteX264" fmla="*/ 5157268 w 6096000"/>
              <a:gd name="connsiteY264" fmla="*/ 811392 h 6857994"/>
              <a:gd name="connsiteX265" fmla="*/ 5222904 w 6096000"/>
              <a:gd name="connsiteY265" fmla="*/ 826909 h 6857994"/>
              <a:gd name="connsiteX266" fmla="*/ 5218663 w 6096000"/>
              <a:gd name="connsiteY266" fmla="*/ 775021 h 6857994"/>
              <a:gd name="connsiteX267" fmla="*/ 5219059 w 6096000"/>
              <a:gd name="connsiteY267" fmla="*/ 759550 h 6857994"/>
              <a:gd name="connsiteX268" fmla="*/ 5140982 w 6096000"/>
              <a:gd name="connsiteY268" fmla="*/ 729260 h 6857994"/>
              <a:gd name="connsiteX269" fmla="*/ 5572073 w 6096000"/>
              <a:gd name="connsiteY269" fmla="*/ 729259 h 6857994"/>
              <a:gd name="connsiteX270" fmla="*/ 5493972 w 6096000"/>
              <a:gd name="connsiteY270" fmla="*/ 759595 h 6857994"/>
              <a:gd name="connsiteX271" fmla="*/ 5494368 w 6096000"/>
              <a:gd name="connsiteY271" fmla="*/ 775020 h 6857994"/>
              <a:gd name="connsiteX272" fmla="*/ 5490151 w 6096000"/>
              <a:gd name="connsiteY272" fmla="*/ 826955 h 6857994"/>
              <a:gd name="connsiteX273" fmla="*/ 5555763 w 6096000"/>
              <a:gd name="connsiteY273" fmla="*/ 811437 h 6857994"/>
              <a:gd name="connsiteX274" fmla="*/ 5572073 w 6096000"/>
              <a:gd name="connsiteY274" fmla="*/ 729259 h 6857994"/>
              <a:gd name="connsiteX275" fmla="*/ 5241846 w 6096000"/>
              <a:gd name="connsiteY275" fmla="*/ 671034 h 6857994"/>
              <a:gd name="connsiteX276" fmla="*/ 5229008 w 6096000"/>
              <a:gd name="connsiteY276" fmla="*/ 753818 h 6857994"/>
              <a:gd name="connsiteX277" fmla="*/ 5285370 w 6096000"/>
              <a:gd name="connsiteY277" fmla="*/ 790911 h 6857994"/>
              <a:gd name="connsiteX278" fmla="*/ 5304755 w 6096000"/>
              <a:gd name="connsiteY278" fmla="*/ 726254 h 6857994"/>
              <a:gd name="connsiteX279" fmla="*/ 5241846 w 6096000"/>
              <a:gd name="connsiteY279" fmla="*/ 671034 h 6857994"/>
              <a:gd name="connsiteX280" fmla="*/ 5471325 w 6096000"/>
              <a:gd name="connsiteY280" fmla="*/ 671008 h 6857994"/>
              <a:gd name="connsiteX281" fmla="*/ 5408299 w 6096000"/>
              <a:gd name="connsiteY281" fmla="*/ 726252 h 6857994"/>
              <a:gd name="connsiteX282" fmla="*/ 5427708 w 6096000"/>
              <a:gd name="connsiteY282" fmla="*/ 790908 h 6857994"/>
              <a:gd name="connsiteX283" fmla="*/ 5484093 w 6096000"/>
              <a:gd name="connsiteY283" fmla="*/ 753815 h 6857994"/>
              <a:gd name="connsiteX284" fmla="*/ 5471325 w 6096000"/>
              <a:gd name="connsiteY284" fmla="*/ 671008 h 6857994"/>
              <a:gd name="connsiteX285" fmla="*/ 5356504 w 6096000"/>
              <a:gd name="connsiteY285" fmla="*/ 650809 h 6857994"/>
              <a:gd name="connsiteX286" fmla="*/ 5316126 w 6096000"/>
              <a:gd name="connsiteY286" fmla="*/ 724203 h 6857994"/>
              <a:gd name="connsiteX287" fmla="*/ 5356435 w 6096000"/>
              <a:gd name="connsiteY287" fmla="*/ 778352 h 6857994"/>
              <a:gd name="connsiteX288" fmla="*/ 5396766 w 6096000"/>
              <a:gd name="connsiteY288" fmla="*/ 724203 h 6857994"/>
              <a:gd name="connsiteX289" fmla="*/ 5356504 w 6096000"/>
              <a:gd name="connsiteY289" fmla="*/ 650809 h 6857994"/>
              <a:gd name="connsiteX290" fmla="*/ 5631650 w 6096000"/>
              <a:gd name="connsiteY290" fmla="*/ 502902 h 6857994"/>
              <a:gd name="connsiteX291" fmla="*/ 5663920 w 6096000"/>
              <a:gd name="connsiteY291" fmla="*/ 545890 h 6857994"/>
              <a:gd name="connsiteX292" fmla="*/ 5654344 w 6096000"/>
              <a:gd name="connsiteY292" fmla="*/ 582564 h 6857994"/>
              <a:gd name="connsiteX293" fmla="*/ 5629577 w 6096000"/>
              <a:gd name="connsiteY293" fmla="*/ 594028 h 6857994"/>
              <a:gd name="connsiteX294" fmla="*/ 5596701 w 6096000"/>
              <a:gd name="connsiteY294" fmla="*/ 550574 h 6857994"/>
              <a:gd name="connsiteX295" fmla="*/ 5631650 w 6096000"/>
              <a:gd name="connsiteY295" fmla="*/ 502902 h 6857994"/>
              <a:gd name="connsiteX296" fmla="*/ 5502849 w 6096000"/>
              <a:gd name="connsiteY296" fmla="*/ 500457 h 6857994"/>
              <a:gd name="connsiteX297" fmla="*/ 5535725 w 6096000"/>
              <a:gd name="connsiteY297" fmla="*/ 545891 h 6857994"/>
              <a:gd name="connsiteX298" fmla="*/ 5501847 w 6096000"/>
              <a:gd name="connsiteY298" fmla="*/ 591442 h 6857994"/>
              <a:gd name="connsiteX299" fmla="*/ 5469228 w 6096000"/>
              <a:gd name="connsiteY299" fmla="*/ 547056 h 6857994"/>
              <a:gd name="connsiteX300" fmla="*/ 5502849 w 6096000"/>
              <a:gd name="connsiteY300" fmla="*/ 500457 h 6857994"/>
              <a:gd name="connsiteX301" fmla="*/ 5637731 w 6096000"/>
              <a:gd name="connsiteY301" fmla="*/ 486546 h 6857994"/>
              <a:gd name="connsiteX302" fmla="*/ 5597796 w 6096000"/>
              <a:gd name="connsiteY302" fmla="*/ 507795 h 6857994"/>
              <a:gd name="connsiteX303" fmla="*/ 5597143 w 6096000"/>
              <a:gd name="connsiteY303" fmla="*/ 488433 h 6857994"/>
              <a:gd name="connsiteX304" fmla="*/ 5574962 w 6096000"/>
              <a:gd name="connsiteY304" fmla="*/ 488433 h 6857994"/>
              <a:gd name="connsiteX305" fmla="*/ 5575661 w 6096000"/>
              <a:gd name="connsiteY305" fmla="*/ 507562 h 6857994"/>
              <a:gd name="connsiteX306" fmla="*/ 5575731 w 6096000"/>
              <a:gd name="connsiteY306" fmla="*/ 650763 h 6857994"/>
              <a:gd name="connsiteX307" fmla="*/ 5597470 w 6096000"/>
              <a:gd name="connsiteY307" fmla="*/ 650763 h 6857994"/>
              <a:gd name="connsiteX308" fmla="*/ 5597470 w 6096000"/>
              <a:gd name="connsiteY308" fmla="*/ 592700 h 6857994"/>
              <a:gd name="connsiteX309" fmla="*/ 5633421 w 6096000"/>
              <a:gd name="connsiteY309" fmla="*/ 610198 h 6857994"/>
              <a:gd name="connsiteX310" fmla="*/ 5687010 w 6096000"/>
              <a:gd name="connsiteY310" fmla="*/ 547288 h 6857994"/>
              <a:gd name="connsiteX311" fmla="*/ 5637731 w 6096000"/>
              <a:gd name="connsiteY311" fmla="*/ 486546 h 6857994"/>
              <a:gd name="connsiteX312" fmla="*/ 5447652 w 6096000"/>
              <a:gd name="connsiteY312" fmla="*/ 443582 h 6857994"/>
              <a:gd name="connsiteX313" fmla="*/ 5447652 w 6096000"/>
              <a:gd name="connsiteY313" fmla="*/ 584685 h 6857994"/>
              <a:gd name="connsiteX314" fmla="*/ 5447163 w 6096000"/>
              <a:gd name="connsiteY314" fmla="*/ 605655 h 6857994"/>
              <a:gd name="connsiteX315" fmla="*/ 5468412 w 6096000"/>
              <a:gd name="connsiteY315" fmla="*/ 605655 h 6857994"/>
              <a:gd name="connsiteX316" fmla="*/ 5468995 w 6096000"/>
              <a:gd name="connsiteY316" fmla="*/ 588040 h 6857994"/>
              <a:gd name="connsiteX317" fmla="*/ 5480458 w 6096000"/>
              <a:gd name="connsiteY317" fmla="*/ 599947 h 6857994"/>
              <a:gd name="connsiteX318" fmla="*/ 5506601 w 6096000"/>
              <a:gd name="connsiteY318" fmla="*/ 607426 h 6857994"/>
              <a:gd name="connsiteX319" fmla="*/ 5547748 w 6096000"/>
              <a:gd name="connsiteY319" fmla="*/ 587341 h 6857994"/>
              <a:gd name="connsiteX320" fmla="*/ 5558955 w 6096000"/>
              <a:gd name="connsiteY320" fmla="*/ 544563 h 6857994"/>
              <a:gd name="connsiteX321" fmla="*/ 5545162 w 6096000"/>
              <a:gd name="connsiteY321" fmla="*/ 500433 h 6857994"/>
              <a:gd name="connsiteX322" fmla="*/ 5508022 w 6096000"/>
              <a:gd name="connsiteY322" fmla="*/ 485475 h 6857994"/>
              <a:gd name="connsiteX323" fmla="*/ 5469717 w 6096000"/>
              <a:gd name="connsiteY323" fmla="*/ 505559 h 6857994"/>
              <a:gd name="connsiteX324" fmla="*/ 5469624 w 6096000"/>
              <a:gd name="connsiteY324" fmla="*/ 443582 h 6857994"/>
              <a:gd name="connsiteX325" fmla="*/ 0 w 6096000"/>
              <a:gd name="connsiteY325" fmla="*/ 0 h 6857994"/>
              <a:gd name="connsiteX326" fmla="*/ 6096000 w 6096000"/>
              <a:gd name="connsiteY326" fmla="*/ 0 h 6857994"/>
              <a:gd name="connsiteX327" fmla="*/ 6096000 w 6096000"/>
              <a:gd name="connsiteY327" fmla="*/ 6857994 h 6857994"/>
              <a:gd name="connsiteX328" fmla="*/ 0 w 6096000"/>
              <a:gd name="connsiteY328"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6096000" h="6857994">
                <a:moveTo>
                  <a:pt x="5356504" y="1193834"/>
                </a:moveTo>
                <a:cubicBezTo>
                  <a:pt x="5344961" y="1213265"/>
                  <a:pt x="5331419" y="1231434"/>
                  <a:pt x="5316102" y="1248052"/>
                </a:cubicBezTo>
                <a:cubicBezTo>
                  <a:pt x="5327363" y="1273656"/>
                  <a:pt x="5340851" y="1298223"/>
                  <a:pt x="5356411" y="1321469"/>
                </a:cubicBezTo>
                <a:cubicBezTo>
                  <a:pt x="5372007" y="1298239"/>
                  <a:pt x="5385512" y="1273670"/>
                  <a:pt x="5396766" y="1248052"/>
                </a:cubicBezTo>
                <a:cubicBezTo>
                  <a:pt x="5381516" y="1231412"/>
                  <a:pt x="5368025" y="1213244"/>
                  <a:pt x="5356504" y="1193834"/>
                </a:cubicBezTo>
                <a:close/>
                <a:moveTo>
                  <a:pt x="5427592" y="1181415"/>
                </a:moveTo>
                <a:cubicBezTo>
                  <a:pt x="5423456" y="1203566"/>
                  <a:pt x="5417030" y="1225225"/>
                  <a:pt x="5408416" y="1246047"/>
                </a:cubicBezTo>
                <a:cubicBezTo>
                  <a:pt x="5427755" y="1266239"/>
                  <a:pt x="5448804" y="1284723"/>
                  <a:pt x="5471325" y="1301291"/>
                </a:cubicBezTo>
                <a:cubicBezTo>
                  <a:pt x="5477980" y="1274117"/>
                  <a:pt x="5482213" y="1246406"/>
                  <a:pt x="5483977" y="1218485"/>
                </a:cubicBezTo>
                <a:cubicBezTo>
                  <a:pt x="5463953" y="1208107"/>
                  <a:pt x="5445057" y="1195686"/>
                  <a:pt x="5427592" y="1181415"/>
                </a:cubicBezTo>
                <a:close/>
                <a:moveTo>
                  <a:pt x="5285440" y="1181413"/>
                </a:moveTo>
                <a:cubicBezTo>
                  <a:pt x="5267956" y="1195682"/>
                  <a:pt x="5249046" y="1208103"/>
                  <a:pt x="5229008" y="1218483"/>
                </a:cubicBezTo>
                <a:cubicBezTo>
                  <a:pt x="5230861" y="1246405"/>
                  <a:pt x="5235188" y="1274109"/>
                  <a:pt x="5241939" y="1301267"/>
                </a:cubicBezTo>
                <a:cubicBezTo>
                  <a:pt x="5264482" y="1284733"/>
                  <a:pt x="5285531" y="1266254"/>
                  <a:pt x="5304849" y="1246046"/>
                </a:cubicBezTo>
                <a:cubicBezTo>
                  <a:pt x="5296162" y="1225230"/>
                  <a:pt x="5289657" y="1203571"/>
                  <a:pt x="5285440" y="1181413"/>
                </a:cubicBezTo>
                <a:close/>
                <a:moveTo>
                  <a:pt x="5490151" y="1145346"/>
                </a:moveTo>
                <a:cubicBezTo>
                  <a:pt x="5492980" y="1162513"/>
                  <a:pt x="5494392" y="1179883"/>
                  <a:pt x="5494368" y="1197282"/>
                </a:cubicBezTo>
                <a:cubicBezTo>
                  <a:pt x="5494368" y="1202338"/>
                  <a:pt x="5494205" y="1207511"/>
                  <a:pt x="5493995" y="1212707"/>
                </a:cubicBezTo>
                <a:cubicBezTo>
                  <a:pt x="5519068" y="1225106"/>
                  <a:pt x="5545197" y="1235244"/>
                  <a:pt x="5572073" y="1242995"/>
                </a:cubicBezTo>
                <a:cubicBezTo>
                  <a:pt x="5569072" y="1215183"/>
                  <a:pt x="5563613" y="1187692"/>
                  <a:pt x="5555763" y="1160840"/>
                </a:cubicBezTo>
                <a:cubicBezTo>
                  <a:pt x="5533414" y="1157963"/>
                  <a:pt x="5511426" y="1152772"/>
                  <a:pt x="5490151" y="1145346"/>
                </a:cubicBezTo>
                <a:close/>
                <a:moveTo>
                  <a:pt x="5222904" y="1145345"/>
                </a:moveTo>
                <a:cubicBezTo>
                  <a:pt x="5201627" y="1152761"/>
                  <a:pt x="5179639" y="1157955"/>
                  <a:pt x="5157292" y="1160840"/>
                </a:cubicBezTo>
                <a:cubicBezTo>
                  <a:pt x="5149450" y="1187693"/>
                  <a:pt x="5143993" y="1215185"/>
                  <a:pt x="5140982" y="1242994"/>
                </a:cubicBezTo>
                <a:cubicBezTo>
                  <a:pt x="5167852" y="1235226"/>
                  <a:pt x="5193980" y="1225091"/>
                  <a:pt x="5219059" y="1212706"/>
                </a:cubicBezTo>
                <a:cubicBezTo>
                  <a:pt x="5218850" y="1207510"/>
                  <a:pt x="5218663" y="1202337"/>
                  <a:pt x="5218663" y="1197281"/>
                </a:cubicBezTo>
                <a:cubicBezTo>
                  <a:pt x="5218636" y="1179880"/>
                  <a:pt x="5220055" y="1162510"/>
                  <a:pt x="5222904" y="1145345"/>
                </a:cubicBezTo>
                <a:close/>
                <a:moveTo>
                  <a:pt x="5382250" y="1132134"/>
                </a:moveTo>
                <a:cubicBezTo>
                  <a:pt x="5377669" y="1150224"/>
                  <a:pt x="5370887" y="1167680"/>
                  <a:pt x="5362049" y="1184116"/>
                </a:cubicBezTo>
                <a:cubicBezTo>
                  <a:pt x="5373037" y="1203396"/>
                  <a:pt x="5386076" y="1221433"/>
                  <a:pt x="5400936" y="1237914"/>
                </a:cubicBezTo>
                <a:cubicBezTo>
                  <a:pt x="5409245" y="1217341"/>
                  <a:pt x="5415328" y="1195940"/>
                  <a:pt x="5419087" y="1174074"/>
                </a:cubicBezTo>
                <a:cubicBezTo>
                  <a:pt x="5405133" y="1161657"/>
                  <a:pt x="5392760" y="1147572"/>
                  <a:pt x="5382250" y="1132134"/>
                </a:cubicBezTo>
                <a:close/>
                <a:moveTo>
                  <a:pt x="5330782" y="1132132"/>
                </a:moveTo>
                <a:cubicBezTo>
                  <a:pt x="5320297" y="1147640"/>
                  <a:pt x="5307932" y="1161791"/>
                  <a:pt x="5293968" y="1174258"/>
                </a:cubicBezTo>
                <a:cubicBezTo>
                  <a:pt x="5297698" y="1196133"/>
                  <a:pt x="5303784" y="1217535"/>
                  <a:pt x="5312118" y="1238100"/>
                </a:cubicBezTo>
                <a:cubicBezTo>
                  <a:pt x="5326981" y="1221578"/>
                  <a:pt x="5340020" y="1203501"/>
                  <a:pt x="5351006" y="1184184"/>
                </a:cubicBezTo>
                <a:cubicBezTo>
                  <a:pt x="5342147" y="1167733"/>
                  <a:pt x="5335353" y="1150250"/>
                  <a:pt x="5330782" y="1132132"/>
                </a:cubicBezTo>
                <a:close/>
                <a:moveTo>
                  <a:pt x="5430644" y="1114473"/>
                </a:moveTo>
                <a:cubicBezTo>
                  <a:pt x="5431457" y="1121917"/>
                  <a:pt x="5431893" y="1129399"/>
                  <a:pt x="5431949" y="1136887"/>
                </a:cubicBezTo>
                <a:cubicBezTo>
                  <a:pt x="5431893" y="1148101"/>
                  <a:pt x="5431036" y="1159299"/>
                  <a:pt x="5429386" y="1170392"/>
                </a:cubicBezTo>
                <a:cubicBezTo>
                  <a:pt x="5446304" y="1184782"/>
                  <a:pt x="5464741" y="1197285"/>
                  <a:pt x="5484373" y="1207672"/>
                </a:cubicBezTo>
                <a:cubicBezTo>
                  <a:pt x="5484443" y="1204247"/>
                  <a:pt x="5484583" y="1200752"/>
                  <a:pt x="5484583" y="1197373"/>
                </a:cubicBezTo>
                <a:cubicBezTo>
                  <a:pt x="5484679" y="1178617"/>
                  <a:pt x="5483001" y="1159892"/>
                  <a:pt x="5479574" y="1141454"/>
                </a:cubicBezTo>
                <a:cubicBezTo>
                  <a:pt x="5462215" y="1134508"/>
                  <a:pt x="5445782" y="1125447"/>
                  <a:pt x="5430644" y="1114473"/>
                </a:cubicBezTo>
                <a:close/>
                <a:moveTo>
                  <a:pt x="5282388" y="1114471"/>
                </a:moveTo>
                <a:cubicBezTo>
                  <a:pt x="5267245" y="1125466"/>
                  <a:pt x="5250803" y="1134553"/>
                  <a:pt x="5233435" y="1141522"/>
                </a:cubicBezTo>
                <a:cubicBezTo>
                  <a:pt x="5230000" y="1159915"/>
                  <a:pt x="5228307" y="1178592"/>
                  <a:pt x="5228379" y="1197303"/>
                </a:cubicBezTo>
                <a:cubicBezTo>
                  <a:pt x="5228379" y="1200657"/>
                  <a:pt x="5228636" y="1204223"/>
                  <a:pt x="5228636" y="1207647"/>
                </a:cubicBezTo>
                <a:cubicBezTo>
                  <a:pt x="5248249" y="1197253"/>
                  <a:pt x="5266672" y="1184752"/>
                  <a:pt x="5283576" y="1170367"/>
                </a:cubicBezTo>
                <a:cubicBezTo>
                  <a:pt x="5281962" y="1159286"/>
                  <a:pt x="5281130" y="1148107"/>
                  <a:pt x="5281083" y="1136909"/>
                </a:cubicBezTo>
                <a:cubicBezTo>
                  <a:pt x="5281130" y="1129411"/>
                  <a:pt x="5281565" y="1121922"/>
                  <a:pt x="5282388" y="1114471"/>
                </a:cubicBezTo>
                <a:close/>
                <a:moveTo>
                  <a:pt x="5603481" y="1082157"/>
                </a:moveTo>
                <a:cubicBezTo>
                  <a:pt x="5581516" y="1087150"/>
                  <a:pt x="5559088" y="1089813"/>
                  <a:pt x="5536564" y="1090102"/>
                </a:cubicBezTo>
                <a:cubicBezTo>
                  <a:pt x="5547501" y="1109772"/>
                  <a:pt x="5556378" y="1130518"/>
                  <a:pt x="5563056" y="1152010"/>
                </a:cubicBezTo>
                <a:cubicBezTo>
                  <a:pt x="5590908" y="1155067"/>
                  <a:pt x="5618977" y="1155668"/>
                  <a:pt x="5646935" y="1153804"/>
                </a:cubicBezTo>
                <a:cubicBezTo>
                  <a:pt x="5634591" y="1128687"/>
                  <a:pt x="5620049" y="1104711"/>
                  <a:pt x="5603481" y="1082157"/>
                </a:cubicBezTo>
                <a:close/>
                <a:moveTo>
                  <a:pt x="5109574" y="1082156"/>
                </a:moveTo>
                <a:cubicBezTo>
                  <a:pt x="5092969" y="1104667"/>
                  <a:pt x="5078404" y="1128614"/>
                  <a:pt x="5066050" y="1153710"/>
                </a:cubicBezTo>
                <a:cubicBezTo>
                  <a:pt x="5093962" y="1155570"/>
                  <a:pt x="5121984" y="1154962"/>
                  <a:pt x="5149789" y="1151893"/>
                </a:cubicBezTo>
                <a:cubicBezTo>
                  <a:pt x="5156540" y="1130425"/>
                  <a:pt x="5165504" y="1109716"/>
                  <a:pt x="5176537" y="1090101"/>
                </a:cubicBezTo>
                <a:cubicBezTo>
                  <a:pt x="5153999" y="1089819"/>
                  <a:pt x="5131553" y="1087157"/>
                  <a:pt x="5109574" y="1082156"/>
                </a:cubicBezTo>
                <a:close/>
                <a:moveTo>
                  <a:pt x="5470044" y="1081410"/>
                </a:moveTo>
                <a:cubicBezTo>
                  <a:pt x="5478215" y="1098209"/>
                  <a:pt x="5484266" y="1115961"/>
                  <a:pt x="5488055" y="1134254"/>
                </a:cubicBezTo>
                <a:cubicBezTo>
                  <a:pt x="5508859" y="1142006"/>
                  <a:pt x="5530446" y="1147474"/>
                  <a:pt x="5552432" y="1150564"/>
                </a:cubicBezTo>
                <a:cubicBezTo>
                  <a:pt x="5545598" y="1129445"/>
                  <a:pt x="5536488" y="1109135"/>
                  <a:pt x="5525264" y="1089984"/>
                </a:cubicBezTo>
                <a:cubicBezTo>
                  <a:pt x="5506576" y="1089397"/>
                  <a:pt x="5488031" y="1086517"/>
                  <a:pt x="5470044" y="1081410"/>
                </a:cubicBezTo>
                <a:close/>
                <a:moveTo>
                  <a:pt x="5242988" y="1081410"/>
                </a:moveTo>
                <a:cubicBezTo>
                  <a:pt x="5224995" y="1086531"/>
                  <a:pt x="5206442" y="1089427"/>
                  <a:pt x="5187744" y="1090031"/>
                </a:cubicBezTo>
                <a:cubicBezTo>
                  <a:pt x="5176549" y="1109188"/>
                  <a:pt x="5167456" y="1129501"/>
                  <a:pt x="5160623" y="1150610"/>
                </a:cubicBezTo>
                <a:cubicBezTo>
                  <a:pt x="5182601" y="1147516"/>
                  <a:pt x="5204178" y="1142048"/>
                  <a:pt x="5224977" y="1134300"/>
                </a:cubicBezTo>
                <a:cubicBezTo>
                  <a:pt x="5228762" y="1115991"/>
                  <a:pt x="5234812" y="1098223"/>
                  <a:pt x="5242988" y="1081410"/>
                </a:cubicBezTo>
                <a:close/>
                <a:moveTo>
                  <a:pt x="5356504" y="1076631"/>
                </a:moveTo>
                <a:cubicBezTo>
                  <a:pt x="5352224" y="1091995"/>
                  <a:pt x="5346024" y="1106760"/>
                  <a:pt x="5338051" y="1120574"/>
                </a:cubicBezTo>
                <a:cubicBezTo>
                  <a:pt x="5341819" y="1138986"/>
                  <a:pt x="5348023" y="1156812"/>
                  <a:pt x="5356504" y="1173581"/>
                </a:cubicBezTo>
                <a:cubicBezTo>
                  <a:pt x="5364995" y="1156815"/>
                  <a:pt x="5371202" y="1138988"/>
                  <a:pt x="5374958" y="1120574"/>
                </a:cubicBezTo>
                <a:cubicBezTo>
                  <a:pt x="5367024" y="1106741"/>
                  <a:pt x="5360824" y="1091981"/>
                  <a:pt x="5356504" y="1076631"/>
                </a:cubicBezTo>
                <a:close/>
                <a:moveTo>
                  <a:pt x="5387469" y="1071180"/>
                </a:moveTo>
                <a:cubicBezTo>
                  <a:pt x="5387842" y="1076003"/>
                  <a:pt x="5388168" y="1080780"/>
                  <a:pt x="5388168" y="1085603"/>
                </a:cubicBezTo>
                <a:cubicBezTo>
                  <a:pt x="5388129" y="1096724"/>
                  <a:pt x="5387108" y="1107817"/>
                  <a:pt x="5385116" y="1118758"/>
                </a:cubicBezTo>
                <a:cubicBezTo>
                  <a:pt x="5394914" y="1134763"/>
                  <a:pt x="5406817" y="1149379"/>
                  <a:pt x="5420508" y="1162212"/>
                </a:cubicBezTo>
                <a:cubicBezTo>
                  <a:pt x="5421531" y="1153792"/>
                  <a:pt x="5422074" y="1145320"/>
                  <a:pt x="5422139" y="1136839"/>
                </a:cubicBezTo>
                <a:cubicBezTo>
                  <a:pt x="5422177" y="1126557"/>
                  <a:pt x="5421396" y="1116288"/>
                  <a:pt x="5419809" y="1106130"/>
                </a:cubicBezTo>
                <a:cubicBezTo>
                  <a:pt x="5407626" y="1095861"/>
                  <a:pt x="5396764" y="1084123"/>
                  <a:pt x="5387469" y="1071180"/>
                </a:cubicBezTo>
                <a:close/>
                <a:moveTo>
                  <a:pt x="5325562" y="1071179"/>
                </a:moveTo>
                <a:cubicBezTo>
                  <a:pt x="5316249" y="1084141"/>
                  <a:pt x="5305364" y="1095898"/>
                  <a:pt x="5293152" y="1106175"/>
                </a:cubicBezTo>
                <a:cubicBezTo>
                  <a:pt x="5291580" y="1116343"/>
                  <a:pt x="5290799" y="1126618"/>
                  <a:pt x="5290823" y="1136908"/>
                </a:cubicBezTo>
                <a:cubicBezTo>
                  <a:pt x="5290867" y="1145382"/>
                  <a:pt x="5291405" y="1153846"/>
                  <a:pt x="5292430" y="1162258"/>
                </a:cubicBezTo>
                <a:cubicBezTo>
                  <a:pt x="5306130" y="1149401"/>
                  <a:pt x="5318048" y="1134773"/>
                  <a:pt x="5327869" y="1118757"/>
                </a:cubicBezTo>
                <a:cubicBezTo>
                  <a:pt x="5325900" y="1107816"/>
                  <a:pt x="5324903" y="1096720"/>
                  <a:pt x="5324887" y="1085602"/>
                </a:cubicBezTo>
                <a:cubicBezTo>
                  <a:pt x="5324887" y="1080779"/>
                  <a:pt x="5325190" y="1076002"/>
                  <a:pt x="5325562" y="1071179"/>
                </a:cubicBezTo>
                <a:close/>
                <a:moveTo>
                  <a:pt x="5414684" y="1055430"/>
                </a:moveTo>
                <a:cubicBezTo>
                  <a:pt x="5421285" y="1069988"/>
                  <a:pt x="5426038" y="1085312"/>
                  <a:pt x="5428827" y="1101051"/>
                </a:cubicBezTo>
                <a:cubicBezTo>
                  <a:pt x="5443524" y="1112750"/>
                  <a:pt x="5459732" y="1122414"/>
                  <a:pt x="5477011" y="1129779"/>
                </a:cubicBezTo>
                <a:cubicBezTo>
                  <a:pt x="5472721" y="1111489"/>
                  <a:pt x="5466016" y="1093850"/>
                  <a:pt x="5457066" y="1077332"/>
                </a:cubicBezTo>
                <a:cubicBezTo>
                  <a:pt x="5442070" y="1071849"/>
                  <a:pt x="5427830" y="1064491"/>
                  <a:pt x="5414684" y="1055430"/>
                </a:cubicBezTo>
                <a:close/>
                <a:moveTo>
                  <a:pt x="5298348" y="1055429"/>
                </a:moveTo>
                <a:cubicBezTo>
                  <a:pt x="5285207" y="1064486"/>
                  <a:pt x="5270976" y="1071843"/>
                  <a:pt x="5255989" y="1077330"/>
                </a:cubicBezTo>
                <a:cubicBezTo>
                  <a:pt x="5247011" y="1093817"/>
                  <a:pt x="5240287" y="1111432"/>
                  <a:pt x="5235998" y="1129708"/>
                </a:cubicBezTo>
                <a:cubicBezTo>
                  <a:pt x="5253296" y="1122337"/>
                  <a:pt x="5269526" y="1112672"/>
                  <a:pt x="5284252" y="1100980"/>
                </a:cubicBezTo>
                <a:cubicBezTo>
                  <a:pt x="5287031" y="1085266"/>
                  <a:pt x="5291766" y="1069966"/>
                  <a:pt x="5298348" y="1055429"/>
                </a:cubicBezTo>
                <a:close/>
                <a:moveTo>
                  <a:pt x="5278193" y="1031383"/>
                </a:moveTo>
                <a:cubicBezTo>
                  <a:pt x="5262702" y="1035372"/>
                  <a:pt x="5246775" y="1037415"/>
                  <a:pt x="5230779" y="1037464"/>
                </a:cubicBezTo>
                <a:cubicBezTo>
                  <a:pt x="5216745" y="1049902"/>
                  <a:pt x="5204442" y="1064163"/>
                  <a:pt x="5194198" y="1079870"/>
                </a:cubicBezTo>
                <a:cubicBezTo>
                  <a:pt x="5212955" y="1078828"/>
                  <a:pt x="5231488" y="1075277"/>
                  <a:pt x="5249302" y="1069315"/>
                </a:cubicBezTo>
                <a:cubicBezTo>
                  <a:pt x="5257290" y="1055501"/>
                  <a:pt x="5266998" y="1042756"/>
                  <a:pt x="5278193" y="1031383"/>
                </a:cubicBezTo>
                <a:close/>
                <a:moveTo>
                  <a:pt x="5434861" y="1031360"/>
                </a:moveTo>
                <a:cubicBezTo>
                  <a:pt x="5446045" y="1042740"/>
                  <a:pt x="5455735" y="1055495"/>
                  <a:pt x="5463706" y="1069316"/>
                </a:cubicBezTo>
                <a:cubicBezTo>
                  <a:pt x="5481530" y="1075273"/>
                  <a:pt x="5500070" y="1078822"/>
                  <a:pt x="5518833" y="1079871"/>
                </a:cubicBezTo>
                <a:cubicBezTo>
                  <a:pt x="5508609" y="1064162"/>
                  <a:pt x="5496323" y="1049900"/>
                  <a:pt x="5482299" y="1037465"/>
                </a:cubicBezTo>
                <a:cubicBezTo>
                  <a:pt x="5466292" y="1037427"/>
                  <a:pt x="5450355" y="1035377"/>
                  <a:pt x="5434861" y="1031360"/>
                </a:cubicBezTo>
                <a:close/>
                <a:moveTo>
                  <a:pt x="5550544" y="1026073"/>
                </a:moveTo>
                <a:cubicBezTo>
                  <a:pt x="5532790" y="1031947"/>
                  <a:pt x="5514374" y="1035593"/>
                  <a:pt x="5495720" y="1036931"/>
                </a:cubicBezTo>
                <a:cubicBezTo>
                  <a:pt x="5509129" y="1050006"/>
                  <a:pt x="5520905" y="1064660"/>
                  <a:pt x="5530786" y="1080571"/>
                </a:cubicBezTo>
                <a:cubicBezTo>
                  <a:pt x="5552953" y="1080660"/>
                  <a:pt x="5575067" y="1078369"/>
                  <a:pt x="5596748" y="1073744"/>
                </a:cubicBezTo>
                <a:cubicBezTo>
                  <a:pt x="5583099" y="1056244"/>
                  <a:pt x="5567609" y="1040263"/>
                  <a:pt x="5550544" y="1026073"/>
                </a:cubicBezTo>
                <a:close/>
                <a:moveTo>
                  <a:pt x="5162441" y="1026072"/>
                </a:moveTo>
                <a:cubicBezTo>
                  <a:pt x="5145443" y="1040229"/>
                  <a:pt x="5130015" y="1056174"/>
                  <a:pt x="5116424" y="1073628"/>
                </a:cubicBezTo>
                <a:cubicBezTo>
                  <a:pt x="5138112" y="1078255"/>
                  <a:pt x="5160233" y="1080545"/>
                  <a:pt x="5182409" y="1080455"/>
                </a:cubicBezTo>
                <a:cubicBezTo>
                  <a:pt x="5192223" y="1064529"/>
                  <a:pt x="5203961" y="1049871"/>
                  <a:pt x="5217358" y="1036813"/>
                </a:cubicBezTo>
                <a:cubicBezTo>
                  <a:pt x="5198678" y="1035525"/>
                  <a:pt x="5180230" y="1031918"/>
                  <a:pt x="5162441" y="1026072"/>
                </a:cubicBezTo>
                <a:close/>
                <a:moveTo>
                  <a:pt x="5621468" y="991893"/>
                </a:moveTo>
                <a:cubicBezTo>
                  <a:pt x="5602477" y="1004058"/>
                  <a:pt x="5582278" y="1014223"/>
                  <a:pt x="5561192" y="1022229"/>
                </a:cubicBezTo>
                <a:cubicBezTo>
                  <a:pt x="5578296" y="1036934"/>
                  <a:pt x="5593812" y="1053387"/>
                  <a:pt x="5607489" y="1071323"/>
                </a:cubicBezTo>
                <a:cubicBezTo>
                  <a:pt x="5634640" y="1064696"/>
                  <a:pt x="5661150" y="1055675"/>
                  <a:pt x="5686708" y="1044364"/>
                </a:cubicBezTo>
                <a:cubicBezTo>
                  <a:pt x="5666544" y="1024993"/>
                  <a:pt x="5644712" y="1007434"/>
                  <a:pt x="5621468" y="991893"/>
                </a:cubicBezTo>
                <a:close/>
                <a:moveTo>
                  <a:pt x="5091540" y="991893"/>
                </a:moveTo>
                <a:cubicBezTo>
                  <a:pt x="5068292" y="1007429"/>
                  <a:pt x="5046461" y="1024988"/>
                  <a:pt x="5026301" y="1044364"/>
                </a:cubicBezTo>
                <a:cubicBezTo>
                  <a:pt x="5051858" y="1055677"/>
                  <a:pt x="5078368" y="1064698"/>
                  <a:pt x="5105520" y="1071323"/>
                </a:cubicBezTo>
                <a:cubicBezTo>
                  <a:pt x="5119220" y="1053387"/>
                  <a:pt x="5134743" y="1036917"/>
                  <a:pt x="5151840" y="1022183"/>
                </a:cubicBezTo>
                <a:cubicBezTo>
                  <a:pt x="5130748" y="1014195"/>
                  <a:pt x="5110540" y="1004046"/>
                  <a:pt x="5091540" y="991893"/>
                </a:cubicBezTo>
                <a:close/>
                <a:moveTo>
                  <a:pt x="5492108" y="991284"/>
                </a:moveTo>
                <a:cubicBezTo>
                  <a:pt x="5477147" y="996762"/>
                  <a:pt x="5461550" y="1000324"/>
                  <a:pt x="5445695" y="1001885"/>
                </a:cubicBezTo>
                <a:cubicBezTo>
                  <a:pt x="5460038" y="1008784"/>
                  <a:pt x="5473468" y="1017440"/>
                  <a:pt x="5485677" y="1027655"/>
                </a:cubicBezTo>
                <a:cubicBezTo>
                  <a:pt x="5504448" y="1027154"/>
                  <a:pt x="5523066" y="1024146"/>
                  <a:pt x="5541037" y="1018708"/>
                </a:cubicBezTo>
                <a:cubicBezTo>
                  <a:pt x="5526025" y="1007421"/>
                  <a:pt x="5509569" y="998199"/>
                  <a:pt x="5492108" y="991284"/>
                </a:cubicBezTo>
                <a:close/>
                <a:moveTo>
                  <a:pt x="5220900" y="991284"/>
                </a:moveTo>
                <a:cubicBezTo>
                  <a:pt x="5203437" y="998171"/>
                  <a:pt x="5186973" y="1007363"/>
                  <a:pt x="5171947" y="1018615"/>
                </a:cubicBezTo>
                <a:cubicBezTo>
                  <a:pt x="5189925" y="1024060"/>
                  <a:pt x="5208552" y="1027068"/>
                  <a:pt x="5227330" y="1027562"/>
                </a:cubicBezTo>
                <a:cubicBezTo>
                  <a:pt x="5239539" y="1017377"/>
                  <a:pt x="5252980" y="1008766"/>
                  <a:pt x="5267336" y="1001932"/>
                </a:cubicBezTo>
                <a:cubicBezTo>
                  <a:pt x="5251475" y="1000324"/>
                  <a:pt x="5235876" y="996748"/>
                  <a:pt x="5220900" y="991284"/>
                </a:cubicBezTo>
                <a:close/>
                <a:moveTo>
                  <a:pt x="5160507" y="957199"/>
                </a:moveTo>
                <a:cubicBezTo>
                  <a:pt x="5139624" y="964648"/>
                  <a:pt x="5119622" y="974369"/>
                  <a:pt x="5100860" y="986183"/>
                </a:cubicBezTo>
                <a:cubicBezTo>
                  <a:pt x="5119649" y="997925"/>
                  <a:pt x="5139647" y="1007609"/>
                  <a:pt x="5160507" y="1015076"/>
                </a:cubicBezTo>
                <a:cubicBezTo>
                  <a:pt x="5175172" y="1003492"/>
                  <a:pt x="5191225" y="993789"/>
                  <a:pt x="5208295" y="986183"/>
                </a:cubicBezTo>
                <a:cubicBezTo>
                  <a:pt x="5191243" y="978506"/>
                  <a:pt x="5175195" y="968774"/>
                  <a:pt x="5160507" y="957199"/>
                </a:cubicBezTo>
                <a:close/>
                <a:moveTo>
                  <a:pt x="5552525" y="957198"/>
                </a:moveTo>
                <a:cubicBezTo>
                  <a:pt x="5537832" y="968778"/>
                  <a:pt x="5521776" y="978513"/>
                  <a:pt x="5504714" y="986183"/>
                </a:cubicBezTo>
                <a:cubicBezTo>
                  <a:pt x="5521793" y="993781"/>
                  <a:pt x="5537856" y="1003488"/>
                  <a:pt x="5552525" y="1015075"/>
                </a:cubicBezTo>
                <a:cubicBezTo>
                  <a:pt x="5573406" y="1007607"/>
                  <a:pt x="5593421" y="997905"/>
                  <a:pt x="5612219" y="986136"/>
                </a:cubicBezTo>
                <a:cubicBezTo>
                  <a:pt x="5593435" y="974347"/>
                  <a:pt x="5573418" y="964642"/>
                  <a:pt x="5552525" y="957198"/>
                </a:cubicBezTo>
                <a:close/>
                <a:moveTo>
                  <a:pt x="5227330" y="944522"/>
                </a:moveTo>
                <a:cubicBezTo>
                  <a:pt x="5208559" y="945030"/>
                  <a:pt x="5189941" y="948047"/>
                  <a:pt x="5171970" y="953492"/>
                </a:cubicBezTo>
                <a:cubicBezTo>
                  <a:pt x="5186979" y="964769"/>
                  <a:pt x="5203437" y="973978"/>
                  <a:pt x="5220899" y="980870"/>
                </a:cubicBezTo>
                <a:cubicBezTo>
                  <a:pt x="5235863" y="975424"/>
                  <a:pt x="5251446" y="971864"/>
                  <a:pt x="5267289" y="970268"/>
                </a:cubicBezTo>
                <a:cubicBezTo>
                  <a:pt x="5252950" y="963383"/>
                  <a:pt x="5239526" y="954734"/>
                  <a:pt x="5227330" y="944522"/>
                </a:cubicBezTo>
                <a:close/>
                <a:moveTo>
                  <a:pt x="5485724" y="944522"/>
                </a:moveTo>
                <a:cubicBezTo>
                  <a:pt x="5473515" y="954776"/>
                  <a:pt x="5460066" y="963458"/>
                  <a:pt x="5445695" y="970361"/>
                </a:cubicBezTo>
                <a:cubicBezTo>
                  <a:pt x="5461560" y="971913"/>
                  <a:pt x="5477166" y="975443"/>
                  <a:pt x="5492155" y="980870"/>
                </a:cubicBezTo>
                <a:cubicBezTo>
                  <a:pt x="5509622" y="973987"/>
                  <a:pt x="5526079" y="964779"/>
                  <a:pt x="5541084" y="953492"/>
                </a:cubicBezTo>
                <a:cubicBezTo>
                  <a:pt x="5523113" y="948047"/>
                  <a:pt x="5504494" y="945030"/>
                  <a:pt x="5485724" y="944522"/>
                </a:cubicBezTo>
                <a:close/>
                <a:moveTo>
                  <a:pt x="5105520" y="900931"/>
                </a:moveTo>
                <a:cubicBezTo>
                  <a:pt x="5078374" y="907578"/>
                  <a:pt x="5051866" y="916598"/>
                  <a:pt x="5026301" y="927889"/>
                </a:cubicBezTo>
                <a:cubicBezTo>
                  <a:pt x="5046463" y="947281"/>
                  <a:pt x="5068311" y="964842"/>
                  <a:pt x="5091587" y="980360"/>
                </a:cubicBezTo>
                <a:cubicBezTo>
                  <a:pt x="5110575" y="968188"/>
                  <a:pt x="5130785" y="958036"/>
                  <a:pt x="5151886" y="950070"/>
                </a:cubicBezTo>
                <a:cubicBezTo>
                  <a:pt x="5134759" y="935354"/>
                  <a:pt x="5119218" y="918883"/>
                  <a:pt x="5105520" y="900931"/>
                </a:cubicBezTo>
                <a:close/>
                <a:moveTo>
                  <a:pt x="5607418" y="900908"/>
                </a:moveTo>
                <a:cubicBezTo>
                  <a:pt x="5593739" y="918891"/>
                  <a:pt x="5578198" y="935378"/>
                  <a:pt x="5561052" y="950094"/>
                </a:cubicBezTo>
                <a:cubicBezTo>
                  <a:pt x="5582169" y="958060"/>
                  <a:pt x="5602393" y="968212"/>
                  <a:pt x="5621398" y="980383"/>
                </a:cubicBezTo>
                <a:cubicBezTo>
                  <a:pt x="5644640" y="964829"/>
                  <a:pt x="5666469" y="947263"/>
                  <a:pt x="5686638" y="927889"/>
                </a:cubicBezTo>
                <a:cubicBezTo>
                  <a:pt x="5661073" y="916591"/>
                  <a:pt x="5634565" y="907562"/>
                  <a:pt x="5607418" y="900908"/>
                </a:cubicBezTo>
                <a:close/>
                <a:moveTo>
                  <a:pt x="5194198" y="892424"/>
                </a:moveTo>
                <a:cubicBezTo>
                  <a:pt x="5204455" y="908114"/>
                  <a:pt x="5216757" y="922366"/>
                  <a:pt x="5230779" y="934806"/>
                </a:cubicBezTo>
                <a:cubicBezTo>
                  <a:pt x="5246761" y="934850"/>
                  <a:pt x="5262676" y="936901"/>
                  <a:pt x="5278147" y="940911"/>
                </a:cubicBezTo>
                <a:cubicBezTo>
                  <a:pt x="5266984" y="929506"/>
                  <a:pt x="5257294" y="916747"/>
                  <a:pt x="5249302" y="902932"/>
                </a:cubicBezTo>
                <a:cubicBezTo>
                  <a:pt x="5231483" y="896995"/>
                  <a:pt x="5212951" y="893461"/>
                  <a:pt x="5194198" y="892424"/>
                </a:cubicBezTo>
                <a:close/>
                <a:moveTo>
                  <a:pt x="5518833" y="892424"/>
                </a:moveTo>
                <a:cubicBezTo>
                  <a:pt x="5500072" y="893468"/>
                  <a:pt x="5481535" y="897002"/>
                  <a:pt x="5463706" y="902932"/>
                </a:cubicBezTo>
                <a:cubicBezTo>
                  <a:pt x="5455728" y="916756"/>
                  <a:pt x="5446038" y="929517"/>
                  <a:pt x="5434861" y="940911"/>
                </a:cubicBezTo>
                <a:cubicBezTo>
                  <a:pt x="5450355" y="936894"/>
                  <a:pt x="5466292" y="934843"/>
                  <a:pt x="5482299" y="934806"/>
                </a:cubicBezTo>
                <a:cubicBezTo>
                  <a:pt x="5496300" y="922360"/>
                  <a:pt x="5508586" y="908107"/>
                  <a:pt x="5518833" y="892424"/>
                </a:cubicBezTo>
                <a:close/>
                <a:moveTo>
                  <a:pt x="5182199" y="891844"/>
                </a:moveTo>
                <a:cubicBezTo>
                  <a:pt x="5159992" y="891736"/>
                  <a:pt x="5137838" y="894027"/>
                  <a:pt x="5116121" y="898670"/>
                </a:cubicBezTo>
                <a:cubicBezTo>
                  <a:pt x="5129765" y="916169"/>
                  <a:pt x="5145265" y="932136"/>
                  <a:pt x="5162348" y="946295"/>
                </a:cubicBezTo>
                <a:cubicBezTo>
                  <a:pt x="5180099" y="940440"/>
                  <a:pt x="5198505" y="936800"/>
                  <a:pt x="5217149" y="935461"/>
                </a:cubicBezTo>
                <a:cubicBezTo>
                  <a:pt x="5203752" y="922413"/>
                  <a:pt x="5192013" y="907762"/>
                  <a:pt x="5182199" y="891844"/>
                </a:cubicBezTo>
                <a:close/>
                <a:moveTo>
                  <a:pt x="5530786" y="891842"/>
                </a:moveTo>
                <a:cubicBezTo>
                  <a:pt x="5520898" y="907742"/>
                  <a:pt x="5509124" y="922386"/>
                  <a:pt x="5495720" y="935460"/>
                </a:cubicBezTo>
                <a:cubicBezTo>
                  <a:pt x="5514371" y="936799"/>
                  <a:pt x="5532785" y="940439"/>
                  <a:pt x="5550544" y="946294"/>
                </a:cubicBezTo>
                <a:cubicBezTo>
                  <a:pt x="5567642" y="932128"/>
                  <a:pt x="5583164" y="916160"/>
                  <a:pt x="5596841" y="898669"/>
                </a:cubicBezTo>
                <a:cubicBezTo>
                  <a:pt x="5575132" y="894026"/>
                  <a:pt x="5552986" y="891738"/>
                  <a:pt x="5530786" y="891842"/>
                </a:cubicBezTo>
                <a:close/>
                <a:moveTo>
                  <a:pt x="5235998" y="842563"/>
                </a:moveTo>
                <a:cubicBezTo>
                  <a:pt x="5240276" y="860865"/>
                  <a:pt x="5246984" y="878511"/>
                  <a:pt x="5255943" y="895033"/>
                </a:cubicBezTo>
                <a:cubicBezTo>
                  <a:pt x="5270924" y="900491"/>
                  <a:pt x="5285156" y="907818"/>
                  <a:pt x="5298301" y="916842"/>
                </a:cubicBezTo>
                <a:cubicBezTo>
                  <a:pt x="5291717" y="902307"/>
                  <a:pt x="5286982" y="887004"/>
                  <a:pt x="5284205" y="871291"/>
                </a:cubicBezTo>
                <a:cubicBezTo>
                  <a:pt x="5269487" y="859611"/>
                  <a:pt x="5253274" y="849950"/>
                  <a:pt x="5235998" y="842563"/>
                </a:cubicBezTo>
                <a:close/>
                <a:moveTo>
                  <a:pt x="5477011" y="842561"/>
                </a:moveTo>
                <a:cubicBezTo>
                  <a:pt x="5459732" y="849926"/>
                  <a:pt x="5443524" y="859591"/>
                  <a:pt x="5428827" y="871290"/>
                </a:cubicBezTo>
                <a:cubicBezTo>
                  <a:pt x="5426033" y="887005"/>
                  <a:pt x="5421282" y="902306"/>
                  <a:pt x="5414684" y="916841"/>
                </a:cubicBezTo>
                <a:cubicBezTo>
                  <a:pt x="5427834" y="907812"/>
                  <a:pt x="5442075" y="900484"/>
                  <a:pt x="5457066" y="895032"/>
                </a:cubicBezTo>
                <a:cubicBezTo>
                  <a:pt x="5466016" y="878506"/>
                  <a:pt x="5472724" y="860861"/>
                  <a:pt x="5477011" y="842561"/>
                </a:cubicBezTo>
                <a:close/>
                <a:moveTo>
                  <a:pt x="5160623" y="821781"/>
                </a:moveTo>
                <a:cubicBezTo>
                  <a:pt x="5167461" y="842881"/>
                  <a:pt x="5176553" y="863185"/>
                  <a:pt x="5187744" y="882337"/>
                </a:cubicBezTo>
                <a:cubicBezTo>
                  <a:pt x="5206442" y="882922"/>
                  <a:pt x="5224996" y="885811"/>
                  <a:pt x="5242988" y="890935"/>
                </a:cubicBezTo>
                <a:cubicBezTo>
                  <a:pt x="5234808" y="874089"/>
                  <a:pt x="5228758" y="856290"/>
                  <a:pt x="5224977" y="837951"/>
                </a:cubicBezTo>
                <a:cubicBezTo>
                  <a:pt x="5204164" y="830278"/>
                  <a:pt x="5182590" y="824859"/>
                  <a:pt x="5160623" y="821781"/>
                </a:cubicBezTo>
                <a:close/>
                <a:moveTo>
                  <a:pt x="5552432" y="821756"/>
                </a:moveTo>
                <a:cubicBezTo>
                  <a:pt x="5530449" y="824829"/>
                  <a:pt x="5508864" y="830274"/>
                  <a:pt x="5488055" y="837996"/>
                </a:cubicBezTo>
                <a:cubicBezTo>
                  <a:pt x="5484271" y="856321"/>
                  <a:pt x="5478220" y="874104"/>
                  <a:pt x="5470044" y="890933"/>
                </a:cubicBezTo>
                <a:cubicBezTo>
                  <a:pt x="5488027" y="885807"/>
                  <a:pt x="5506573" y="882918"/>
                  <a:pt x="5525264" y="882335"/>
                </a:cubicBezTo>
                <a:cubicBezTo>
                  <a:pt x="5536483" y="863183"/>
                  <a:pt x="5545593" y="842873"/>
                  <a:pt x="5552432" y="821756"/>
                </a:cubicBezTo>
                <a:close/>
                <a:moveTo>
                  <a:pt x="5066143" y="818450"/>
                </a:moveTo>
                <a:cubicBezTo>
                  <a:pt x="5078426" y="843583"/>
                  <a:pt x="5092929" y="867568"/>
                  <a:pt x="5109480" y="890120"/>
                </a:cubicBezTo>
                <a:cubicBezTo>
                  <a:pt x="5131464" y="885145"/>
                  <a:pt x="5153907" y="882475"/>
                  <a:pt x="5176444" y="882151"/>
                </a:cubicBezTo>
                <a:cubicBezTo>
                  <a:pt x="5165433" y="862514"/>
                  <a:pt x="5156500" y="841782"/>
                  <a:pt x="5149789" y="820291"/>
                </a:cubicBezTo>
                <a:cubicBezTo>
                  <a:pt x="5122015" y="817224"/>
                  <a:pt x="5094025" y="816607"/>
                  <a:pt x="5066143" y="818450"/>
                </a:cubicBezTo>
                <a:close/>
                <a:moveTo>
                  <a:pt x="5646935" y="818450"/>
                </a:moveTo>
                <a:cubicBezTo>
                  <a:pt x="5619031" y="816607"/>
                  <a:pt x="5591018" y="817215"/>
                  <a:pt x="5563219" y="820267"/>
                </a:cubicBezTo>
                <a:cubicBezTo>
                  <a:pt x="5556492" y="841759"/>
                  <a:pt x="5547559" y="862498"/>
                  <a:pt x="5536564" y="882151"/>
                </a:cubicBezTo>
                <a:cubicBezTo>
                  <a:pt x="5559086" y="882484"/>
                  <a:pt x="5581511" y="885155"/>
                  <a:pt x="5603481" y="890120"/>
                </a:cubicBezTo>
                <a:cubicBezTo>
                  <a:pt x="5620061" y="867566"/>
                  <a:pt x="5634602" y="843581"/>
                  <a:pt x="5646935" y="818450"/>
                </a:cubicBezTo>
                <a:close/>
                <a:moveTo>
                  <a:pt x="5292430" y="810013"/>
                </a:moveTo>
                <a:cubicBezTo>
                  <a:pt x="5291428" y="818427"/>
                  <a:pt x="5290890" y="826889"/>
                  <a:pt x="5290822" y="835363"/>
                </a:cubicBezTo>
                <a:cubicBezTo>
                  <a:pt x="5290824" y="845662"/>
                  <a:pt x="5291626" y="855944"/>
                  <a:pt x="5293222" y="866119"/>
                </a:cubicBezTo>
                <a:cubicBezTo>
                  <a:pt x="5305412" y="876380"/>
                  <a:pt x="5316277" y="888118"/>
                  <a:pt x="5325562" y="901068"/>
                </a:cubicBezTo>
                <a:cubicBezTo>
                  <a:pt x="5325189" y="896292"/>
                  <a:pt x="5324886" y="891469"/>
                  <a:pt x="5324886" y="886669"/>
                </a:cubicBezTo>
                <a:cubicBezTo>
                  <a:pt x="5324902" y="875550"/>
                  <a:pt x="5325900" y="864455"/>
                  <a:pt x="5327869" y="853514"/>
                </a:cubicBezTo>
                <a:cubicBezTo>
                  <a:pt x="5318059" y="837490"/>
                  <a:pt x="5306139" y="822858"/>
                  <a:pt x="5292430" y="810013"/>
                </a:cubicBezTo>
                <a:close/>
                <a:moveTo>
                  <a:pt x="5420601" y="810011"/>
                </a:moveTo>
                <a:cubicBezTo>
                  <a:pt x="5406876" y="822854"/>
                  <a:pt x="5394939" y="837486"/>
                  <a:pt x="5385116" y="853512"/>
                </a:cubicBezTo>
                <a:cubicBezTo>
                  <a:pt x="5387131" y="864451"/>
                  <a:pt x="5388178" y="875544"/>
                  <a:pt x="5388238" y="886667"/>
                </a:cubicBezTo>
                <a:cubicBezTo>
                  <a:pt x="5388238" y="891467"/>
                  <a:pt x="5387912" y="896406"/>
                  <a:pt x="5387539" y="901066"/>
                </a:cubicBezTo>
                <a:cubicBezTo>
                  <a:pt x="5396838" y="888121"/>
                  <a:pt x="5407710" y="876383"/>
                  <a:pt x="5419902" y="866117"/>
                </a:cubicBezTo>
                <a:cubicBezTo>
                  <a:pt x="5421478" y="855942"/>
                  <a:pt x="5422256" y="845657"/>
                  <a:pt x="5422232" y="835361"/>
                </a:cubicBezTo>
                <a:cubicBezTo>
                  <a:pt x="5422167" y="826887"/>
                  <a:pt x="5421622" y="818425"/>
                  <a:pt x="5420601" y="810011"/>
                </a:cubicBezTo>
                <a:close/>
                <a:moveTo>
                  <a:pt x="5356504" y="798711"/>
                </a:moveTo>
                <a:cubicBezTo>
                  <a:pt x="5348016" y="815461"/>
                  <a:pt x="5341812" y="833274"/>
                  <a:pt x="5338051" y="851671"/>
                </a:cubicBezTo>
                <a:cubicBezTo>
                  <a:pt x="5346022" y="865479"/>
                  <a:pt x="5352222" y="880234"/>
                  <a:pt x="5356504" y="895591"/>
                </a:cubicBezTo>
                <a:cubicBezTo>
                  <a:pt x="5360819" y="880258"/>
                  <a:pt x="5367024" y="865518"/>
                  <a:pt x="5374981" y="851718"/>
                </a:cubicBezTo>
                <a:cubicBezTo>
                  <a:pt x="5371216" y="833304"/>
                  <a:pt x="5365002" y="815475"/>
                  <a:pt x="5356504" y="798711"/>
                </a:cubicBezTo>
                <a:close/>
                <a:moveTo>
                  <a:pt x="5228635" y="764673"/>
                </a:moveTo>
                <a:cubicBezTo>
                  <a:pt x="5228542" y="768075"/>
                  <a:pt x="5228379" y="771640"/>
                  <a:pt x="5228379" y="775065"/>
                </a:cubicBezTo>
                <a:cubicBezTo>
                  <a:pt x="5228312" y="793791"/>
                  <a:pt x="5230013" y="812484"/>
                  <a:pt x="5233458" y="830891"/>
                </a:cubicBezTo>
                <a:cubicBezTo>
                  <a:pt x="5250808" y="837825"/>
                  <a:pt x="5267240" y="846863"/>
                  <a:pt x="5282388" y="857802"/>
                </a:cubicBezTo>
                <a:cubicBezTo>
                  <a:pt x="5281563" y="850367"/>
                  <a:pt x="5281127" y="842893"/>
                  <a:pt x="5281083" y="835411"/>
                </a:cubicBezTo>
                <a:cubicBezTo>
                  <a:pt x="5281129" y="824213"/>
                  <a:pt x="5281961" y="813034"/>
                  <a:pt x="5283576" y="801953"/>
                </a:cubicBezTo>
                <a:cubicBezTo>
                  <a:pt x="5266653" y="787591"/>
                  <a:pt x="5248234" y="775093"/>
                  <a:pt x="5228635" y="764673"/>
                </a:cubicBezTo>
                <a:close/>
                <a:moveTo>
                  <a:pt x="5484373" y="764672"/>
                </a:moveTo>
                <a:cubicBezTo>
                  <a:pt x="5464771" y="775080"/>
                  <a:pt x="5446337" y="787555"/>
                  <a:pt x="5429386" y="801882"/>
                </a:cubicBezTo>
                <a:cubicBezTo>
                  <a:pt x="5431052" y="812998"/>
                  <a:pt x="5431926" y="824217"/>
                  <a:pt x="5431996" y="835457"/>
                </a:cubicBezTo>
                <a:cubicBezTo>
                  <a:pt x="5431940" y="842945"/>
                  <a:pt x="5431506" y="850427"/>
                  <a:pt x="5430691" y="857871"/>
                </a:cubicBezTo>
                <a:cubicBezTo>
                  <a:pt x="5445829" y="846913"/>
                  <a:pt x="5462264" y="837866"/>
                  <a:pt x="5479620" y="830936"/>
                </a:cubicBezTo>
                <a:cubicBezTo>
                  <a:pt x="5483048" y="812497"/>
                  <a:pt x="5484723" y="793773"/>
                  <a:pt x="5484630" y="775017"/>
                </a:cubicBezTo>
                <a:cubicBezTo>
                  <a:pt x="5484630" y="771662"/>
                  <a:pt x="5484490" y="768144"/>
                  <a:pt x="5484373" y="764672"/>
                </a:cubicBezTo>
                <a:close/>
                <a:moveTo>
                  <a:pt x="5312118" y="734314"/>
                </a:moveTo>
                <a:cubicBezTo>
                  <a:pt x="5303780" y="754899"/>
                  <a:pt x="5297694" y="776328"/>
                  <a:pt x="5293968" y="798225"/>
                </a:cubicBezTo>
                <a:cubicBezTo>
                  <a:pt x="5307915" y="810642"/>
                  <a:pt x="5320278" y="824726"/>
                  <a:pt x="5330782" y="840165"/>
                </a:cubicBezTo>
                <a:cubicBezTo>
                  <a:pt x="5335358" y="822033"/>
                  <a:pt x="5342150" y="804537"/>
                  <a:pt x="5351006" y="788067"/>
                </a:cubicBezTo>
                <a:cubicBezTo>
                  <a:pt x="5340018" y="768800"/>
                  <a:pt x="5326979" y="750778"/>
                  <a:pt x="5312118" y="734314"/>
                </a:cubicBezTo>
                <a:close/>
                <a:moveTo>
                  <a:pt x="5400913" y="734313"/>
                </a:moveTo>
                <a:cubicBezTo>
                  <a:pt x="5386057" y="750777"/>
                  <a:pt x="5373025" y="768799"/>
                  <a:pt x="5362049" y="788066"/>
                </a:cubicBezTo>
                <a:cubicBezTo>
                  <a:pt x="5370894" y="804538"/>
                  <a:pt x="5377678" y="822034"/>
                  <a:pt x="5382250" y="840164"/>
                </a:cubicBezTo>
                <a:cubicBezTo>
                  <a:pt x="5392767" y="824695"/>
                  <a:pt x="5405139" y="810571"/>
                  <a:pt x="5419087" y="798108"/>
                </a:cubicBezTo>
                <a:cubicBezTo>
                  <a:pt x="5415331" y="776253"/>
                  <a:pt x="5409238" y="754866"/>
                  <a:pt x="5400913" y="734313"/>
                </a:cubicBezTo>
                <a:close/>
                <a:moveTo>
                  <a:pt x="5140982" y="729260"/>
                </a:moveTo>
                <a:cubicBezTo>
                  <a:pt x="5143985" y="757064"/>
                  <a:pt x="5149435" y="784546"/>
                  <a:pt x="5157268" y="811392"/>
                </a:cubicBezTo>
                <a:cubicBezTo>
                  <a:pt x="5179626" y="814276"/>
                  <a:pt x="5201622" y="819477"/>
                  <a:pt x="5222904" y="826909"/>
                </a:cubicBezTo>
                <a:cubicBezTo>
                  <a:pt x="5220055" y="809761"/>
                  <a:pt x="5218636" y="792405"/>
                  <a:pt x="5218663" y="775021"/>
                </a:cubicBezTo>
                <a:cubicBezTo>
                  <a:pt x="5218663" y="769941"/>
                  <a:pt x="5218850" y="764745"/>
                  <a:pt x="5219059" y="759550"/>
                </a:cubicBezTo>
                <a:cubicBezTo>
                  <a:pt x="5193978" y="747170"/>
                  <a:pt x="5167850" y="737035"/>
                  <a:pt x="5140982" y="729260"/>
                </a:cubicBezTo>
                <a:close/>
                <a:moveTo>
                  <a:pt x="5572073" y="729259"/>
                </a:moveTo>
                <a:cubicBezTo>
                  <a:pt x="5545192" y="737036"/>
                  <a:pt x="5519054" y="747188"/>
                  <a:pt x="5493972" y="759595"/>
                </a:cubicBezTo>
                <a:cubicBezTo>
                  <a:pt x="5494205" y="764791"/>
                  <a:pt x="5494368" y="769940"/>
                  <a:pt x="5494368" y="775020"/>
                </a:cubicBezTo>
                <a:cubicBezTo>
                  <a:pt x="5494392" y="792418"/>
                  <a:pt x="5492980" y="809788"/>
                  <a:pt x="5490151" y="826955"/>
                </a:cubicBezTo>
                <a:cubicBezTo>
                  <a:pt x="5511419" y="819504"/>
                  <a:pt x="5533409" y="814303"/>
                  <a:pt x="5555763" y="811437"/>
                </a:cubicBezTo>
                <a:cubicBezTo>
                  <a:pt x="5563615" y="784580"/>
                  <a:pt x="5569074" y="757079"/>
                  <a:pt x="5572073" y="729259"/>
                </a:cubicBezTo>
                <a:close/>
                <a:moveTo>
                  <a:pt x="5241846" y="671034"/>
                </a:moveTo>
                <a:cubicBezTo>
                  <a:pt x="5235121" y="698194"/>
                  <a:pt x="5230824" y="725898"/>
                  <a:pt x="5229008" y="753818"/>
                </a:cubicBezTo>
                <a:cubicBezTo>
                  <a:pt x="5249026" y="764203"/>
                  <a:pt x="5267914" y="776633"/>
                  <a:pt x="5285370" y="790911"/>
                </a:cubicBezTo>
                <a:cubicBezTo>
                  <a:pt x="5289562" y="768741"/>
                  <a:pt x="5296060" y="747073"/>
                  <a:pt x="5304755" y="726254"/>
                </a:cubicBezTo>
                <a:cubicBezTo>
                  <a:pt x="5285445" y="706040"/>
                  <a:pt x="5264393" y="687560"/>
                  <a:pt x="5241846" y="671034"/>
                </a:cubicBezTo>
                <a:close/>
                <a:moveTo>
                  <a:pt x="5471325" y="671008"/>
                </a:moveTo>
                <a:cubicBezTo>
                  <a:pt x="5448752" y="687558"/>
                  <a:pt x="5427663" y="706041"/>
                  <a:pt x="5408299" y="726252"/>
                </a:cubicBezTo>
                <a:cubicBezTo>
                  <a:pt x="5416992" y="747072"/>
                  <a:pt x="5423495" y="768741"/>
                  <a:pt x="5427708" y="790908"/>
                </a:cubicBezTo>
                <a:cubicBezTo>
                  <a:pt x="5445166" y="776623"/>
                  <a:pt x="5464062" y="764191"/>
                  <a:pt x="5484093" y="753815"/>
                </a:cubicBezTo>
                <a:cubicBezTo>
                  <a:pt x="5482287" y="725891"/>
                  <a:pt x="5478014" y="698180"/>
                  <a:pt x="5471325" y="671008"/>
                </a:cubicBezTo>
                <a:close/>
                <a:moveTo>
                  <a:pt x="5356504" y="650809"/>
                </a:moveTo>
                <a:cubicBezTo>
                  <a:pt x="5340926" y="674047"/>
                  <a:pt x="5327415" y="698606"/>
                  <a:pt x="5316126" y="724203"/>
                </a:cubicBezTo>
                <a:cubicBezTo>
                  <a:pt x="5331399" y="740809"/>
                  <a:pt x="5344908" y="758955"/>
                  <a:pt x="5356435" y="778352"/>
                </a:cubicBezTo>
                <a:cubicBezTo>
                  <a:pt x="5367977" y="758962"/>
                  <a:pt x="5381493" y="740814"/>
                  <a:pt x="5396766" y="724203"/>
                </a:cubicBezTo>
                <a:cubicBezTo>
                  <a:pt x="5385531" y="698601"/>
                  <a:pt x="5372057" y="674042"/>
                  <a:pt x="5356504" y="650809"/>
                </a:cubicBezTo>
                <a:close/>
                <a:moveTo>
                  <a:pt x="5631650" y="502902"/>
                </a:moveTo>
                <a:cubicBezTo>
                  <a:pt x="5657606" y="502902"/>
                  <a:pt x="5663920" y="524874"/>
                  <a:pt x="5663920" y="545890"/>
                </a:cubicBezTo>
                <a:cubicBezTo>
                  <a:pt x="5663920" y="554302"/>
                  <a:pt x="5662755" y="571124"/>
                  <a:pt x="5654344" y="582564"/>
                </a:cubicBezTo>
                <a:cubicBezTo>
                  <a:pt x="5646865" y="592863"/>
                  <a:pt x="5635169" y="594028"/>
                  <a:pt x="5629577" y="594028"/>
                </a:cubicBezTo>
                <a:cubicBezTo>
                  <a:pt x="5598821" y="594028"/>
                  <a:pt x="5596701" y="564740"/>
                  <a:pt x="5596701" y="550574"/>
                </a:cubicBezTo>
                <a:cubicBezTo>
                  <a:pt x="5596701" y="540042"/>
                  <a:pt x="5596701" y="502902"/>
                  <a:pt x="5631650" y="502902"/>
                </a:cubicBezTo>
                <a:close/>
                <a:moveTo>
                  <a:pt x="5502849" y="500457"/>
                </a:moveTo>
                <a:cubicBezTo>
                  <a:pt x="5533395" y="500340"/>
                  <a:pt x="5535725" y="534218"/>
                  <a:pt x="5535725" y="545891"/>
                </a:cubicBezTo>
                <a:cubicBezTo>
                  <a:pt x="5535725" y="565044"/>
                  <a:pt x="5528945" y="591442"/>
                  <a:pt x="5501847" y="591442"/>
                </a:cubicBezTo>
                <a:cubicBezTo>
                  <a:pt x="5469228" y="591442"/>
                  <a:pt x="5469228" y="554768"/>
                  <a:pt x="5469228" y="547056"/>
                </a:cubicBezTo>
                <a:cubicBezTo>
                  <a:pt x="5469228" y="539344"/>
                  <a:pt x="5469228" y="500457"/>
                  <a:pt x="5502849" y="500457"/>
                </a:cubicBezTo>
                <a:close/>
                <a:moveTo>
                  <a:pt x="5637731" y="486546"/>
                </a:moveTo>
                <a:cubicBezTo>
                  <a:pt x="5628155" y="486546"/>
                  <a:pt x="5608747" y="489342"/>
                  <a:pt x="5597796" y="507795"/>
                </a:cubicBezTo>
                <a:lnTo>
                  <a:pt x="5597143" y="488433"/>
                </a:lnTo>
                <a:lnTo>
                  <a:pt x="5574962" y="488433"/>
                </a:lnTo>
                <a:cubicBezTo>
                  <a:pt x="5575428" y="499640"/>
                  <a:pt x="5575661" y="502413"/>
                  <a:pt x="5575661" y="507562"/>
                </a:cubicBezTo>
                <a:lnTo>
                  <a:pt x="5575731" y="650763"/>
                </a:lnTo>
                <a:lnTo>
                  <a:pt x="5597470" y="650763"/>
                </a:lnTo>
                <a:lnTo>
                  <a:pt x="5597470" y="592700"/>
                </a:lnTo>
                <a:cubicBezTo>
                  <a:pt x="5603737" y="602975"/>
                  <a:pt x="5616366" y="610198"/>
                  <a:pt x="5633421" y="610198"/>
                </a:cubicBezTo>
                <a:cubicBezTo>
                  <a:pt x="5661381" y="610198"/>
                  <a:pt x="5687010" y="591045"/>
                  <a:pt x="5687010" y="547288"/>
                </a:cubicBezTo>
                <a:cubicBezTo>
                  <a:pt x="5687010" y="503532"/>
                  <a:pt x="5662965" y="486546"/>
                  <a:pt x="5637731" y="486546"/>
                </a:cubicBezTo>
                <a:close/>
                <a:moveTo>
                  <a:pt x="5447652" y="443582"/>
                </a:moveTo>
                <a:lnTo>
                  <a:pt x="5447652" y="584685"/>
                </a:lnTo>
                <a:lnTo>
                  <a:pt x="5447163" y="605655"/>
                </a:lnTo>
                <a:lnTo>
                  <a:pt x="5468412" y="605655"/>
                </a:lnTo>
                <a:lnTo>
                  <a:pt x="5468995" y="588040"/>
                </a:lnTo>
                <a:cubicBezTo>
                  <a:pt x="5471884" y="592811"/>
                  <a:pt x="5475801" y="596879"/>
                  <a:pt x="5480458" y="599947"/>
                </a:cubicBezTo>
                <a:cubicBezTo>
                  <a:pt x="5488226" y="605003"/>
                  <a:pt x="5497334" y="607608"/>
                  <a:pt x="5506601" y="607426"/>
                </a:cubicBezTo>
                <a:cubicBezTo>
                  <a:pt x="5522724" y="607426"/>
                  <a:pt x="5538381" y="600646"/>
                  <a:pt x="5547748" y="587341"/>
                </a:cubicBezTo>
                <a:cubicBezTo>
                  <a:pt x="5553596" y="579629"/>
                  <a:pt x="5558955" y="567234"/>
                  <a:pt x="5558955" y="544563"/>
                </a:cubicBezTo>
                <a:cubicBezTo>
                  <a:pt x="5558955" y="518933"/>
                  <a:pt x="5551010" y="507283"/>
                  <a:pt x="5545162" y="500433"/>
                </a:cubicBezTo>
                <a:cubicBezTo>
                  <a:pt x="5534420" y="488271"/>
                  <a:pt x="5519695" y="485475"/>
                  <a:pt x="5508022" y="485475"/>
                </a:cubicBezTo>
                <a:cubicBezTo>
                  <a:pt x="5481390" y="485475"/>
                  <a:pt x="5472723" y="500200"/>
                  <a:pt x="5469717" y="505559"/>
                </a:cubicBezTo>
                <a:lnTo>
                  <a:pt x="5469624" y="443582"/>
                </a:lnTo>
                <a:close/>
                <a:moveTo>
                  <a:pt x="0" y="0"/>
                </a:moveTo>
                <a:lnTo>
                  <a:pt x="6096000" y="0"/>
                </a:lnTo>
                <a:lnTo>
                  <a:pt x="6096000" y="6857994"/>
                </a:lnTo>
                <a:lnTo>
                  <a:pt x="0" y="6857994"/>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12" name="Text Placeholder 9">
            <a:extLst>
              <a:ext uri="{FF2B5EF4-FFF2-40B4-BE49-F238E27FC236}">
                <a16:creationId xmlns:a16="http://schemas.microsoft.com/office/drawing/2014/main" id="{49D70B0D-7BA2-43D6-81FA-BC2256191788}"/>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3" name="Text Placeholder 9">
            <a:extLst>
              <a:ext uri="{FF2B5EF4-FFF2-40B4-BE49-F238E27FC236}">
                <a16:creationId xmlns:a16="http://schemas.microsoft.com/office/drawing/2014/main" id="{D783836A-1B35-4B86-9E6B-A8D1580EC95C}"/>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BD5BCA50-B5D8-4574-9472-16777DEC98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7988" y="6174856"/>
            <a:ext cx="944562" cy="450814"/>
          </a:xfrm>
          <a:prstGeom prst="rect">
            <a:avLst/>
          </a:prstGeom>
        </p:spPr>
      </p:pic>
      <p:sp>
        <p:nvSpPr>
          <p:cNvPr id="10" name="Text Placeholder 9">
            <a:extLst>
              <a:ext uri="{FF2B5EF4-FFF2-40B4-BE49-F238E27FC236}">
                <a16:creationId xmlns:a16="http://schemas.microsoft.com/office/drawing/2014/main" id="{D112D105-ABE6-4773-AAF7-B7F742A407BA}"/>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bg1"/>
                </a:solidFill>
              </a:defRPr>
            </a:lvl1pPr>
            <a:lvl2pPr marL="0" indent="0">
              <a:lnSpc>
                <a:spcPct val="90000"/>
              </a:lnSpc>
              <a:spcBef>
                <a:spcPts val="500"/>
              </a:spcBef>
              <a:buNone/>
              <a:defRPr sz="4800">
                <a:solidFill>
                  <a:schemeClr val="accent2"/>
                </a:solidFill>
                <a:latin typeface="+mn-lt"/>
              </a:defRPr>
            </a:lvl2pPr>
            <a:lvl3pPr marL="0" indent="0">
              <a:lnSpc>
                <a:spcPct val="90000"/>
              </a:lnSpc>
              <a:buNone/>
              <a:defRPr sz="4800">
                <a:solidFill>
                  <a:schemeClr val="bg1"/>
                </a:solidFill>
              </a:defRPr>
            </a:lvl3pPr>
            <a:lvl4pPr marL="0" indent="0">
              <a:lnSpc>
                <a:spcPct val="90000"/>
              </a:lnSpc>
              <a:buFont typeface="Arial" panose="020B0604020202020204" pitchFamily="34" charset="0"/>
              <a:buNone/>
              <a:defRPr sz="4800">
                <a:solidFill>
                  <a:schemeClr val="bg1"/>
                </a:solidFill>
              </a:defRPr>
            </a:lvl4pPr>
            <a:lvl5pPr marL="0" indent="0">
              <a:lnSpc>
                <a:spcPct val="90000"/>
              </a:lnSpc>
              <a:buFont typeface="Arial" panose="020B0604020202020204" pitchFamily="34" charset="0"/>
              <a:buNone/>
              <a:defRPr sz="4800">
                <a:solidFill>
                  <a:schemeClr val="bg1"/>
                </a:solidFill>
              </a:defRPr>
            </a:lvl5pPr>
            <a:lvl6pPr>
              <a:defRPr sz="4800">
                <a:solidFill>
                  <a:schemeClr val="bg1"/>
                </a:solidFill>
              </a:defRPr>
            </a:lvl6pPr>
            <a:lvl7pPr>
              <a:defRPr sz="4800">
                <a:solidFill>
                  <a:schemeClr val="bg1"/>
                </a:solidFill>
              </a:defRPr>
            </a:lvl7pPr>
            <a:lvl8pPr>
              <a:defRPr sz="4800">
                <a:solidFill>
                  <a:schemeClr val="bg1"/>
                </a:solidFill>
              </a:defRPr>
            </a:lvl8pPr>
            <a:lvl9pPr>
              <a:defRPr sz="48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373689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rk Green Title Light Image">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261982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D5D0F8BB-4057-4FBE-AD11-C891C46B494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25572" y="443583"/>
            <a:ext cx="658441" cy="877146"/>
          </a:xfrm>
          <a:prstGeom prst="rect">
            <a:avLst/>
          </a:prstGeom>
        </p:spPr>
      </p:pic>
      <p:sp>
        <p:nvSpPr>
          <p:cNvPr id="10" name="Picture Placeholder 9">
            <a:extLst>
              <a:ext uri="{FF2B5EF4-FFF2-40B4-BE49-F238E27FC236}">
                <a16:creationId xmlns:a16="http://schemas.microsoft.com/office/drawing/2014/main" id="{88EAB6AB-6881-45FF-A3B7-AF732B0C70BD}"/>
              </a:ext>
            </a:extLst>
          </p:cNvPr>
          <p:cNvSpPr>
            <a:spLocks noGrp="1"/>
          </p:cNvSpPr>
          <p:nvPr>
            <p:ph type="pic" sz="quarter" idx="14" hasCustomPrompt="1"/>
          </p:nvPr>
        </p:nvSpPr>
        <p:spPr>
          <a:xfrm>
            <a:off x="6096000" y="0"/>
            <a:ext cx="6096000" cy="6858000"/>
          </a:xfrm>
          <a:custGeom>
            <a:avLst/>
            <a:gdLst>
              <a:gd name="connsiteX0" fmla="*/ 5358881 w 6096000"/>
              <a:gd name="connsiteY0" fmla="*/ 647700 h 6858000"/>
              <a:gd name="connsiteX1" fmla="*/ 5313581 w 6096000"/>
              <a:gd name="connsiteY1" fmla="*/ 729366 h 6858000"/>
              <a:gd name="connsiteX2" fmla="*/ 5243152 w 6096000"/>
              <a:gd name="connsiteY2" fmla="*/ 668105 h 6858000"/>
              <a:gd name="connsiteX3" fmla="*/ 5228554 w 6096000"/>
              <a:gd name="connsiteY3" fmla="*/ 760326 h 6858000"/>
              <a:gd name="connsiteX4" fmla="*/ 5141410 w 6096000"/>
              <a:gd name="connsiteY4" fmla="*/ 726827 h 6858000"/>
              <a:gd name="connsiteX5" fmla="*/ 5159229 w 6096000"/>
              <a:gd name="connsiteY5" fmla="*/ 818508 h 6858000"/>
              <a:gd name="connsiteX6" fmla="*/ 5065857 w 6096000"/>
              <a:gd name="connsiteY6" fmla="*/ 816862 h 6858000"/>
              <a:gd name="connsiteX7" fmla="*/ 5113906 w 6096000"/>
              <a:gd name="connsiteY7" fmla="*/ 896882 h 6858000"/>
              <a:gd name="connsiteX8" fmla="*/ 5025658 w 6096000"/>
              <a:gd name="connsiteY8" fmla="*/ 927278 h 6858000"/>
              <a:gd name="connsiteX9" fmla="*/ 5098226 w 6096000"/>
              <a:gd name="connsiteY9" fmla="*/ 986024 h 6858000"/>
              <a:gd name="connsiteX10" fmla="*/ 5025658 w 6096000"/>
              <a:gd name="connsiteY10" fmla="*/ 1044770 h 6858000"/>
              <a:gd name="connsiteX11" fmla="*/ 5113906 w 6096000"/>
              <a:gd name="connsiteY11" fmla="*/ 1075142 h 6858000"/>
              <a:gd name="connsiteX12" fmla="*/ 5065857 w 6096000"/>
              <a:gd name="connsiteY12" fmla="*/ 1155232 h 6858000"/>
              <a:gd name="connsiteX13" fmla="*/ 5159229 w 6096000"/>
              <a:gd name="connsiteY13" fmla="*/ 1153563 h 6858000"/>
              <a:gd name="connsiteX14" fmla="*/ 5141410 w 6096000"/>
              <a:gd name="connsiteY14" fmla="*/ 1245221 h 6858000"/>
              <a:gd name="connsiteX15" fmla="*/ 5228554 w 6096000"/>
              <a:gd name="connsiteY15" fmla="*/ 1211792 h 6858000"/>
              <a:gd name="connsiteX16" fmla="*/ 5243152 w 6096000"/>
              <a:gd name="connsiteY16" fmla="*/ 1303990 h 6858000"/>
              <a:gd name="connsiteX17" fmla="*/ 5313581 w 6096000"/>
              <a:gd name="connsiteY17" fmla="*/ 1242752 h 6858000"/>
              <a:gd name="connsiteX18" fmla="*/ 5358881 w 6096000"/>
              <a:gd name="connsiteY18" fmla="*/ 1324394 h 6858000"/>
              <a:gd name="connsiteX19" fmla="*/ 5404180 w 6096000"/>
              <a:gd name="connsiteY19" fmla="*/ 1242752 h 6858000"/>
              <a:gd name="connsiteX20" fmla="*/ 5474609 w 6096000"/>
              <a:gd name="connsiteY20" fmla="*/ 1303990 h 6858000"/>
              <a:gd name="connsiteX21" fmla="*/ 5489184 w 6096000"/>
              <a:gd name="connsiteY21" fmla="*/ 1211792 h 6858000"/>
              <a:gd name="connsiteX22" fmla="*/ 5576351 w 6096000"/>
              <a:gd name="connsiteY22" fmla="*/ 1245221 h 6858000"/>
              <a:gd name="connsiteX23" fmla="*/ 5558509 w 6096000"/>
              <a:gd name="connsiteY23" fmla="*/ 1153563 h 6858000"/>
              <a:gd name="connsiteX24" fmla="*/ 5651881 w 6096000"/>
              <a:gd name="connsiteY24" fmla="*/ 1155232 h 6858000"/>
              <a:gd name="connsiteX25" fmla="*/ 5603785 w 6096000"/>
              <a:gd name="connsiteY25" fmla="*/ 1075142 h 6858000"/>
              <a:gd name="connsiteX26" fmla="*/ 5692056 w 6096000"/>
              <a:gd name="connsiteY26" fmla="*/ 1044770 h 6858000"/>
              <a:gd name="connsiteX27" fmla="*/ 5619464 w 6096000"/>
              <a:gd name="connsiteY27" fmla="*/ 986024 h 6858000"/>
              <a:gd name="connsiteX28" fmla="*/ 5692056 w 6096000"/>
              <a:gd name="connsiteY28" fmla="*/ 927278 h 6858000"/>
              <a:gd name="connsiteX29" fmla="*/ 5603785 w 6096000"/>
              <a:gd name="connsiteY29" fmla="*/ 896882 h 6858000"/>
              <a:gd name="connsiteX30" fmla="*/ 5651881 w 6096000"/>
              <a:gd name="connsiteY30" fmla="*/ 816815 h 6858000"/>
              <a:gd name="connsiteX31" fmla="*/ 5558509 w 6096000"/>
              <a:gd name="connsiteY31" fmla="*/ 818508 h 6858000"/>
              <a:gd name="connsiteX32" fmla="*/ 5576351 w 6096000"/>
              <a:gd name="connsiteY32" fmla="*/ 726827 h 6858000"/>
              <a:gd name="connsiteX33" fmla="*/ 5489184 w 6096000"/>
              <a:gd name="connsiteY33" fmla="*/ 760278 h 6858000"/>
              <a:gd name="connsiteX34" fmla="*/ 5474609 w 6096000"/>
              <a:gd name="connsiteY34" fmla="*/ 668105 h 6858000"/>
              <a:gd name="connsiteX35" fmla="*/ 5404180 w 6096000"/>
              <a:gd name="connsiteY35" fmla="*/ 729366 h 6858000"/>
              <a:gd name="connsiteX36" fmla="*/ 5358881 w 6096000"/>
              <a:gd name="connsiteY36" fmla="*/ 647700 h 6858000"/>
              <a:gd name="connsiteX37" fmla="*/ 5633981 w 6096000"/>
              <a:gd name="connsiteY37" fmla="*/ 502880 h 6858000"/>
              <a:gd name="connsiteX38" fmla="*/ 5633981 w 6096000"/>
              <a:gd name="connsiteY38" fmla="*/ 502903 h 6858000"/>
              <a:gd name="connsiteX39" fmla="*/ 5666227 w 6096000"/>
              <a:gd name="connsiteY39" fmla="*/ 545891 h 6858000"/>
              <a:gd name="connsiteX40" fmla="*/ 5656651 w 6096000"/>
              <a:gd name="connsiteY40" fmla="*/ 582565 h 6858000"/>
              <a:gd name="connsiteX41" fmla="*/ 5631907 w 6096000"/>
              <a:gd name="connsiteY41" fmla="*/ 594005 h 6858000"/>
              <a:gd name="connsiteX42" fmla="*/ 5598938 w 6096000"/>
              <a:gd name="connsiteY42" fmla="*/ 550551 h 6858000"/>
              <a:gd name="connsiteX43" fmla="*/ 5633981 w 6096000"/>
              <a:gd name="connsiteY43" fmla="*/ 502880 h 6858000"/>
              <a:gd name="connsiteX44" fmla="*/ 5505016 w 6096000"/>
              <a:gd name="connsiteY44" fmla="*/ 500318 h 6858000"/>
              <a:gd name="connsiteX45" fmla="*/ 5537985 w 6096000"/>
              <a:gd name="connsiteY45" fmla="*/ 545869 h 6858000"/>
              <a:gd name="connsiteX46" fmla="*/ 5504107 w 6096000"/>
              <a:gd name="connsiteY46" fmla="*/ 591420 h 6858000"/>
              <a:gd name="connsiteX47" fmla="*/ 5471395 w 6096000"/>
              <a:gd name="connsiteY47" fmla="*/ 547034 h 6858000"/>
              <a:gd name="connsiteX48" fmla="*/ 5505016 w 6096000"/>
              <a:gd name="connsiteY48" fmla="*/ 500318 h 6858000"/>
              <a:gd name="connsiteX49" fmla="*/ 5639875 w 6096000"/>
              <a:gd name="connsiteY49" fmla="*/ 486547 h 6858000"/>
              <a:gd name="connsiteX50" fmla="*/ 5599916 w 6096000"/>
              <a:gd name="connsiteY50" fmla="*/ 507796 h 6858000"/>
              <a:gd name="connsiteX51" fmla="*/ 5599450 w 6096000"/>
              <a:gd name="connsiteY51" fmla="*/ 488411 h 6858000"/>
              <a:gd name="connsiteX52" fmla="*/ 5577269 w 6096000"/>
              <a:gd name="connsiteY52" fmla="*/ 488411 h 6858000"/>
              <a:gd name="connsiteX53" fmla="*/ 5577968 w 6096000"/>
              <a:gd name="connsiteY53" fmla="*/ 507563 h 6858000"/>
              <a:gd name="connsiteX54" fmla="*/ 5577968 w 6096000"/>
              <a:gd name="connsiteY54" fmla="*/ 650764 h 6858000"/>
              <a:gd name="connsiteX55" fmla="*/ 5599660 w 6096000"/>
              <a:gd name="connsiteY55" fmla="*/ 650764 h 6858000"/>
              <a:gd name="connsiteX56" fmla="*/ 5599660 w 6096000"/>
              <a:gd name="connsiteY56" fmla="*/ 592607 h 6858000"/>
              <a:gd name="connsiteX57" fmla="*/ 5635635 w 6096000"/>
              <a:gd name="connsiteY57" fmla="*/ 610129 h 6858000"/>
              <a:gd name="connsiteX58" fmla="*/ 5689108 w 6096000"/>
              <a:gd name="connsiteY58" fmla="*/ 547289 h 6858000"/>
              <a:gd name="connsiteX59" fmla="*/ 5639875 w 6096000"/>
              <a:gd name="connsiteY59" fmla="*/ 486547 h 6858000"/>
              <a:gd name="connsiteX60" fmla="*/ 5449912 w 6096000"/>
              <a:gd name="connsiteY60" fmla="*/ 443583 h 6858000"/>
              <a:gd name="connsiteX61" fmla="*/ 5449912 w 6096000"/>
              <a:gd name="connsiteY61" fmla="*/ 584663 h 6858000"/>
              <a:gd name="connsiteX62" fmla="*/ 5449423 w 6096000"/>
              <a:gd name="connsiteY62" fmla="*/ 605679 h 6858000"/>
              <a:gd name="connsiteX63" fmla="*/ 5470649 w 6096000"/>
              <a:gd name="connsiteY63" fmla="*/ 605679 h 6858000"/>
              <a:gd name="connsiteX64" fmla="*/ 5471138 w 6096000"/>
              <a:gd name="connsiteY64" fmla="*/ 587925 h 6858000"/>
              <a:gd name="connsiteX65" fmla="*/ 5482602 w 6096000"/>
              <a:gd name="connsiteY65" fmla="*/ 599831 h 6858000"/>
              <a:gd name="connsiteX66" fmla="*/ 5508744 w 6096000"/>
              <a:gd name="connsiteY66" fmla="*/ 607310 h 6858000"/>
              <a:gd name="connsiteX67" fmla="*/ 5549891 w 6096000"/>
              <a:gd name="connsiteY67" fmla="*/ 587226 h 6858000"/>
              <a:gd name="connsiteX68" fmla="*/ 5561075 w 6096000"/>
              <a:gd name="connsiteY68" fmla="*/ 544471 h 6858000"/>
              <a:gd name="connsiteX69" fmla="*/ 5547305 w 6096000"/>
              <a:gd name="connsiteY69" fmla="*/ 500318 h 6858000"/>
              <a:gd name="connsiteX70" fmla="*/ 5510142 w 6096000"/>
              <a:gd name="connsiteY70" fmla="*/ 485359 h 6858000"/>
              <a:gd name="connsiteX71" fmla="*/ 5471837 w 6096000"/>
              <a:gd name="connsiteY71" fmla="*/ 505444 h 6858000"/>
              <a:gd name="connsiteX72" fmla="*/ 5471837 w 6096000"/>
              <a:gd name="connsiteY72" fmla="*/ 443583 h 6858000"/>
              <a:gd name="connsiteX73" fmla="*/ 0 w 6096000"/>
              <a:gd name="connsiteY73" fmla="*/ 0 h 6858000"/>
              <a:gd name="connsiteX74" fmla="*/ 6096000 w 6096000"/>
              <a:gd name="connsiteY74" fmla="*/ 0 h 6858000"/>
              <a:gd name="connsiteX75" fmla="*/ 6096000 w 6096000"/>
              <a:gd name="connsiteY75" fmla="*/ 6858000 h 6858000"/>
              <a:gd name="connsiteX76" fmla="*/ 0 w 6096000"/>
              <a:gd name="connsiteY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0" h="6858000">
                <a:moveTo>
                  <a:pt x="5358881" y="647700"/>
                </a:moveTo>
                <a:cubicBezTo>
                  <a:pt x="5350747" y="659854"/>
                  <a:pt x="5330248" y="689944"/>
                  <a:pt x="5313581" y="729366"/>
                </a:cubicBezTo>
                <a:cubicBezTo>
                  <a:pt x="5284479" y="697983"/>
                  <a:pt x="5254929" y="676755"/>
                  <a:pt x="5243152" y="668105"/>
                </a:cubicBezTo>
                <a:cubicBezTo>
                  <a:pt x="5239673" y="682280"/>
                  <a:pt x="5230716" y="717565"/>
                  <a:pt x="5228554" y="760326"/>
                </a:cubicBezTo>
                <a:cubicBezTo>
                  <a:pt x="5190471" y="740838"/>
                  <a:pt x="5155420" y="730965"/>
                  <a:pt x="5141410" y="726827"/>
                </a:cubicBezTo>
                <a:cubicBezTo>
                  <a:pt x="5142985" y="741378"/>
                  <a:pt x="5146605" y="777604"/>
                  <a:pt x="5159229" y="818508"/>
                </a:cubicBezTo>
                <a:cubicBezTo>
                  <a:pt x="5116750" y="813171"/>
                  <a:pt x="5080478" y="815898"/>
                  <a:pt x="5065857" y="816862"/>
                </a:cubicBezTo>
                <a:cubicBezTo>
                  <a:pt x="5072321" y="829956"/>
                  <a:pt x="5088142" y="862749"/>
                  <a:pt x="5113906" y="896882"/>
                </a:cubicBezTo>
                <a:cubicBezTo>
                  <a:pt x="5072227" y="906403"/>
                  <a:pt x="5039058" y="921378"/>
                  <a:pt x="5025658" y="927278"/>
                </a:cubicBezTo>
                <a:cubicBezTo>
                  <a:pt x="5036237" y="937362"/>
                  <a:pt x="5062306" y="962774"/>
                  <a:pt x="5098226" y="986024"/>
                </a:cubicBezTo>
                <a:cubicBezTo>
                  <a:pt x="5062306" y="1009226"/>
                  <a:pt x="5036237" y="1034709"/>
                  <a:pt x="5025658" y="1044770"/>
                </a:cubicBezTo>
                <a:cubicBezTo>
                  <a:pt x="5039058" y="1050670"/>
                  <a:pt x="5072227" y="1065621"/>
                  <a:pt x="5113906" y="1075142"/>
                </a:cubicBezTo>
                <a:cubicBezTo>
                  <a:pt x="5088142" y="1109275"/>
                  <a:pt x="5072321" y="1142068"/>
                  <a:pt x="5065857" y="1155232"/>
                </a:cubicBezTo>
                <a:cubicBezTo>
                  <a:pt x="5080478" y="1156126"/>
                  <a:pt x="5116750" y="1158852"/>
                  <a:pt x="5159229" y="1153563"/>
                </a:cubicBezTo>
                <a:cubicBezTo>
                  <a:pt x="5146629" y="1194443"/>
                  <a:pt x="5142985" y="1230692"/>
                  <a:pt x="5141410" y="1245221"/>
                </a:cubicBezTo>
                <a:cubicBezTo>
                  <a:pt x="5155420" y="1241106"/>
                  <a:pt x="5190471" y="1231257"/>
                  <a:pt x="5228554" y="1211792"/>
                </a:cubicBezTo>
                <a:cubicBezTo>
                  <a:pt x="5230716" y="1254483"/>
                  <a:pt x="5239673" y="1289768"/>
                  <a:pt x="5243152" y="1303990"/>
                </a:cubicBezTo>
                <a:cubicBezTo>
                  <a:pt x="5254929" y="1295315"/>
                  <a:pt x="5284479" y="1274088"/>
                  <a:pt x="5313581" y="1242752"/>
                </a:cubicBezTo>
                <a:cubicBezTo>
                  <a:pt x="5330248" y="1282151"/>
                  <a:pt x="5350747" y="1312241"/>
                  <a:pt x="5358881" y="1324394"/>
                </a:cubicBezTo>
                <a:cubicBezTo>
                  <a:pt x="5366991" y="1312217"/>
                  <a:pt x="5387489" y="1282151"/>
                  <a:pt x="5404180" y="1242752"/>
                </a:cubicBezTo>
                <a:cubicBezTo>
                  <a:pt x="5433236" y="1274111"/>
                  <a:pt x="5462832" y="1295339"/>
                  <a:pt x="5474609" y="1303990"/>
                </a:cubicBezTo>
                <a:cubicBezTo>
                  <a:pt x="5478065" y="1289768"/>
                  <a:pt x="5487046" y="1254506"/>
                  <a:pt x="5489184" y="1211792"/>
                </a:cubicBezTo>
                <a:cubicBezTo>
                  <a:pt x="5527267" y="1231280"/>
                  <a:pt x="5562294" y="1241130"/>
                  <a:pt x="5576351" y="1245221"/>
                </a:cubicBezTo>
                <a:cubicBezTo>
                  <a:pt x="5574776" y="1230692"/>
                  <a:pt x="5571109" y="1194467"/>
                  <a:pt x="5558509" y="1153563"/>
                </a:cubicBezTo>
                <a:cubicBezTo>
                  <a:pt x="5600964" y="1158877"/>
                  <a:pt x="5637283" y="1156149"/>
                  <a:pt x="5651881" y="1155232"/>
                </a:cubicBezTo>
                <a:cubicBezTo>
                  <a:pt x="5645393" y="1142068"/>
                  <a:pt x="5629644" y="1109299"/>
                  <a:pt x="5603785" y="1075142"/>
                </a:cubicBezTo>
                <a:cubicBezTo>
                  <a:pt x="5645511" y="1065621"/>
                  <a:pt x="5678727" y="1050670"/>
                  <a:pt x="5692056" y="1044770"/>
                </a:cubicBezTo>
                <a:cubicBezTo>
                  <a:pt x="5681502" y="1034685"/>
                  <a:pt x="5655431" y="1009202"/>
                  <a:pt x="5619464" y="986024"/>
                </a:cubicBezTo>
                <a:cubicBezTo>
                  <a:pt x="5655431" y="962774"/>
                  <a:pt x="5681502" y="937362"/>
                  <a:pt x="5692056" y="927278"/>
                </a:cubicBezTo>
                <a:cubicBezTo>
                  <a:pt x="5678727" y="921378"/>
                  <a:pt x="5645534" y="906427"/>
                  <a:pt x="5603785" y="896882"/>
                </a:cubicBezTo>
                <a:cubicBezTo>
                  <a:pt x="5629644" y="862726"/>
                  <a:pt x="5645393" y="829956"/>
                  <a:pt x="5651881" y="816815"/>
                </a:cubicBezTo>
                <a:cubicBezTo>
                  <a:pt x="5637283" y="815922"/>
                  <a:pt x="5600964" y="813195"/>
                  <a:pt x="5558509" y="818508"/>
                </a:cubicBezTo>
                <a:cubicBezTo>
                  <a:pt x="5571109" y="777604"/>
                  <a:pt x="5574776" y="741378"/>
                  <a:pt x="5576351" y="726827"/>
                </a:cubicBezTo>
                <a:cubicBezTo>
                  <a:pt x="5562294" y="730918"/>
                  <a:pt x="5527267" y="740791"/>
                  <a:pt x="5489184" y="760278"/>
                </a:cubicBezTo>
                <a:cubicBezTo>
                  <a:pt x="5487046" y="717565"/>
                  <a:pt x="5478065" y="682280"/>
                  <a:pt x="5474609" y="668105"/>
                </a:cubicBezTo>
                <a:cubicBezTo>
                  <a:pt x="5462832" y="676755"/>
                  <a:pt x="5433236" y="697983"/>
                  <a:pt x="5404180" y="729366"/>
                </a:cubicBezTo>
                <a:cubicBezTo>
                  <a:pt x="5387489" y="689944"/>
                  <a:pt x="5366991" y="659877"/>
                  <a:pt x="5358881" y="647700"/>
                </a:cubicBezTo>
                <a:close/>
                <a:moveTo>
                  <a:pt x="5633981" y="502880"/>
                </a:moveTo>
                <a:lnTo>
                  <a:pt x="5633981" y="502903"/>
                </a:lnTo>
                <a:cubicBezTo>
                  <a:pt x="5659913" y="502903"/>
                  <a:pt x="5666227" y="524875"/>
                  <a:pt x="5666227" y="545891"/>
                </a:cubicBezTo>
                <a:cubicBezTo>
                  <a:pt x="5666227" y="554303"/>
                  <a:pt x="5665062" y="571125"/>
                  <a:pt x="5656651" y="582565"/>
                </a:cubicBezTo>
                <a:cubicBezTo>
                  <a:pt x="5649172" y="592840"/>
                  <a:pt x="5637499" y="594005"/>
                  <a:pt x="5631907" y="594005"/>
                </a:cubicBezTo>
                <a:cubicBezTo>
                  <a:pt x="5601058" y="594005"/>
                  <a:pt x="5598938" y="564811"/>
                  <a:pt x="5598938" y="550551"/>
                </a:cubicBezTo>
                <a:cubicBezTo>
                  <a:pt x="5598938" y="540043"/>
                  <a:pt x="5598938" y="502880"/>
                  <a:pt x="5633981" y="502880"/>
                </a:cubicBezTo>
                <a:close/>
                <a:moveTo>
                  <a:pt x="5505016" y="500318"/>
                </a:moveTo>
                <a:cubicBezTo>
                  <a:pt x="5535655" y="500318"/>
                  <a:pt x="5537985" y="534196"/>
                  <a:pt x="5537985" y="545869"/>
                </a:cubicBezTo>
                <a:cubicBezTo>
                  <a:pt x="5537985" y="565021"/>
                  <a:pt x="5531205" y="591420"/>
                  <a:pt x="5504107" y="591420"/>
                </a:cubicBezTo>
                <a:cubicBezTo>
                  <a:pt x="5471395" y="591420"/>
                  <a:pt x="5471395" y="554746"/>
                  <a:pt x="5471395" y="547034"/>
                </a:cubicBezTo>
                <a:cubicBezTo>
                  <a:pt x="5471395" y="539322"/>
                  <a:pt x="5471395" y="500318"/>
                  <a:pt x="5505016" y="500318"/>
                </a:cubicBezTo>
                <a:close/>
                <a:moveTo>
                  <a:pt x="5639875" y="486547"/>
                </a:moveTo>
                <a:cubicBezTo>
                  <a:pt x="5630299" y="486547"/>
                  <a:pt x="5610890" y="489343"/>
                  <a:pt x="5599916" y="507796"/>
                </a:cubicBezTo>
                <a:lnTo>
                  <a:pt x="5599450" y="488411"/>
                </a:lnTo>
                <a:lnTo>
                  <a:pt x="5577269" y="488411"/>
                </a:lnTo>
                <a:cubicBezTo>
                  <a:pt x="5577735" y="499618"/>
                  <a:pt x="5577968" y="502414"/>
                  <a:pt x="5577968" y="507563"/>
                </a:cubicBezTo>
                <a:lnTo>
                  <a:pt x="5577968" y="650764"/>
                </a:lnTo>
                <a:lnTo>
                  <a:pt x="5599660" y="650764"/>
                </a:lnTo>
                <a:lnTo>
                  <a:pt x="5599660" y="592607"/>
                </a:lnTo>
                <a:cubicBezTo>
                  <a:pt x="5605951" y="602883"/>
                  <a:pt x="5618579" y="610129"/>
                  <a:pt x="5635635" y="610129"/>
                </a:cubicBezTo>
                <a:cubicBezTo>
                  <a:pt x="5663688" y="610129"/>
                  <a:pt x="5689108" y="590976"/>
                  <a:pt x="5689108" y="547289"/>
                </a:cubicBezTo>
                <a:cubicBezTo>
                  <a:pt x="5689108" y="503602"/>
                  <a:pt x="5665086" y="486547"/>
                  <a:pt x="5639875" y="486547"/>
                </a:cubicBezTo>
                <a:close/>
                <a:moveTo>
                  <a:pt x="5449912" y="443583"/>
                </a:moveTo>
                <a:lnTo>
                  <a:pt x="5449912" y="584663"/>
                </a:lnTo>
                <a:lnTo>
                  <a:pt x="5449423" y="605679"/>
                </a:lnTo>
                <a:lnTo>
                  <a:pt x="5470649" y="605679"/>
                </a:lnTo>
                <a:lnTo>
                  <a:pt x="5471138" y="587925"/>
                </a:lnTo>
                <a:cubicBezTo>
                  <a:pt x="5473492" y="591420"/>
                  <a:pt x="5476055" y="595404"/>
                  <a:pt x="5482602" y="599831"/>
                </a:cubicBezTo>
                <a:cubicBezTo>
                  <a:pt x="5492667" y="606611"/>
                  <a:pt x="5503152" y="607310"/>
                  <a:pt x="5508744" y="607310"/>
                </a:cubicBezTo>
                <a:cubicBezTo>
                  <a:pt x="5524867" y="607310"/>
                  <a:pt x="5540525" y="600530"/>
                  <a:pt x="5549891" y="587226"/>
                </a:cubicBezTo>
                <a:cubicBezTo>
                  <a:pt x="5555716" y="579514"/>
                  <a:pt x="5561075" y="567141"/>
                  <a:pt x="5561075" y="544471"/>
                </a:cubicBezTo>
                <a:cubicBezTo>
                  <a:pt x="5561075" y="518771"/>
                  <a:pt x="5553130" y="507098"/>
                  <a:pt x="5547305" y="500318"/>
                </a:cubicBezTo>
                <a:cubicBezTo>
                  <a:pt x="5536564" y="488179"/>
                  <a:pt x="5521815" y="485359"/>
                  <a:pt x="5510142" y="485359"/>
                </a:cubicBezTo>
                <a:cubicBezTo>
                  <a:pt x="5483510" y="485359"/>
                  <a:pt x="5474866" y="500085"/>
                  <a:pt x="5471837" y="505444"/>
                </a:cubicBezTo>
                <a:lnTo>
                  <a:pt x="5471837" y="443583"/>
                </a:ln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14" name="Text Placeholder 9">
            <a:extLst>
              <a:ext uri="{FF2B5EF4-FFF2-40B4-BE49-F238E27FC236}">
                <a16:creationId xmlns:a16="http://schemas.microsoft.com/office/drawing/2014/main" id="{F3ABD56D-56E7-4F39-BA0C-EE7B9E5E165C}"/>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5" name="Text Placeholder 9">
            <a:extLst>
              <a:ext uri="{FF2B5EF4-FFF2-40B4-BE49-F238E27FC236}">
                <a16:creationId xmlns:a16="http://schemas.microsoft.com/office/drawing/2014/main" id="{DBA99947-ECA3-4A5D-93FB-3B767FF8F081}"/>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70AAE0E3-FB2F-455E-8B0F-A4A98592E18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7988" y="6174856"/>
            <a:ext cx="944562" cy="450814"/>
          </a:xfrm>
          <a:prstGeom prst="rect">
            <a:avLst/>
          </a:prstGeom>
        </p:spPr>
      </p:pic>
      <p:sp>
        <p:nvSpPr>
          <p:cNvPr id="11" name="Text Placeholder 9">
            <a:extLst>
              <a:ext uri="{FF2B5EF4-FFF2-40B4-BE49-F238E27FC236}">
                <a16:creationId xmlns:a16="http://schemas.microsoft.com/office/drawing/2014/main" id="{A41CE4E3-972C-4C97-B71E-A4E43D021748}"/>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bg1"/>
                </a:solidFill>
              </a:defRPr>
            </a:lvl1pPr>
            <a:lvl2pPr marL="0" indent="0">
              <a:lnSpc>
                <a:spcPct val="90000"/>
              </a:lnSpc>
              <a:spcBef>
                <a:spcPts val="500"/>
              </a:spcBef>
              <a:buNone/>
              <a:defRPr sz="4800">
                <a:solidFill>
                  <a:schemeClr val="accent2"/>
                </a:solidFill>
                <a:latin typeface="+mn-lt"/>
              </a:defRPr>
            </a:lvl2pPr>
            <a:lvl3pPr marL="0" indent="0">
              <a:lnSpc>
                <a:spcPct val="90000"/>
              </a:lnSpc>
              <a:buNone/>
              <a:defRPr sz="4800">
                <a:solidFill>
                  <a:schemeClr val="bg1"/>
                </a:solidFill>
              </a:defRPr>
            </a:lvl3pPr>
            <a:lvl4pPr marL="0" indent="0">
              <a:lnSpc>
                <a:spcPct val="90000"/>
              </a:lnSpc>
              <a:buFont typeface="Arial" panose="020B0604020202020204" pitchFamily="34" charset="0"/>
              <a:buNone/>
              <a:defRPr sz="4800">
                <a:solidFill>
                  <a:schemeClr val="bg1"/>
                </a:solidFill>
              </a:defRPr>
            </a:lvl4pPr>
            <a:lvl5pPr marL="0" indent="0">
              <a:lnSpc>
                <a:spcPct val="90000"/>
              </a:lnSpc>
              <a:buFont typeface="Arial" panose="020B0604020202020204" pitchFamily="34" charset="0"/>
              <a:buNone/>
              <a:defRPr sz="4800">
                <a:solidFill>
                  <a:schemeClr val="bg1"/>
                </a:solidFill>
              </a:defRPr>
            </a:lvl5pPr>
            <a:lvl6pPr>
              <a:defRPr sz="4800">
                <a:solidFill>
                  <a:schemeClr val="bg1"/>
                </a:solidFill>
              </a:defRPr>
            </a:lvl6pPr>
            <a:lvl7pPr>
              <a:defRPr sz="4800">
                <a:solidFill>
                  <a:schemeClr val="bg1"/>
                </a:solidFill>
              </a:defRPr>
            </a:lvl7pPr>
            <a:lvl8pPr>
              <a:defRPr sz="4800">
                <a:solidFill>
                  <a:schemeClr val="bg1"/>
                </a:solidFill>
              </a:defRPr>
            </a:lvl8pPr>
            <a:lvl9pPr>
              <a:defRPr sz="48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104166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rk Green Title Dark Image">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421851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FD0B6C5-C4D3-46E2-A8D3-F06EE43BC5DC}"/>
              </a:ext>
            </a:extLst>
          </p:cNvPr>
          <p:cNvSpPr/>
          <p:nvPr userDrawn="1"/>
        </p:nvSpPr>
        <p:spPr>
          <a:xfrm>
            <a:off x="6096000" y="0"/>
            <a:ext cx="6096000" cy="685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icture Placeholder 9">
            <a:extLst>
              <a:ext uri="{FF2B5EF4-FFF2-40B4-BE49-F238E27FC236}">
                <a16:creationId xmlns:a16="http://schemas.microsoft.com/office/drawing/2014/main" id="{C7EF6064-D8BE-47FD-9300-459FF80FC36F}"/>
              </a:ext>
            </a:extLst>
          </p:cNvPr>
          <p:cNvSpPr>
            <a:spLocks noGrp="1"/>
          </p:cNvSpPr>
          <p:nvPr>
            <p:ph type="pic" sz="quarter" idx="14" hasCustomPrompt="1"/>
          </p:nvPr>
        </p:nvSpPr>
        <p:spPr>
          <a:xfrm>
            <a:off x="6096000" y="6"/>
            <a:ext cx="6096000" cy="6857994"/>
          </a:xfrm>
          <a:custGeom>
            <a:avLst/>
            <a:gdLst>
              <a:gd name="connsiteX0" fmla="*/ 5356504 w 6096000"/>
              <a:gd name="connsiteY0" fmla="*/ 1193834 h 6857994"/>
              <a:gd name="connsiteX1" fmla="*/ 5316102 w 6096000"/>
              <a:gd name="connsiteY1" fmla="*/ 1248052 h 6857994"/>
              <a:gd name="connsiteX2" fmla="*/ 5356411 w 6096000"/>
              <a:gd name="connsiteY2" fmla="*/ 1321469 h 6857994"/>
              <a:gd name="connsiteX3" fmla="*/ 5396766 w 6096000"/>
              <a:gd name="connsiteY3" fmla="*/ 1248052 h 6857994"/>
              <a:gd name="connsiteX4" fmla="*/ 5356504 w 6096000"/>
              <a:gd name="connsiteY4" fmla="*/ 1193834 h 6857994"/>
              <a:gd name="connsiteX5" fmla="*/ 5427592 w 6096000"/>
              <a:gd name="connsiteY5" fmla="*/ 1181415 h 6857994"/>
              <a:gd name="connsiteX6" fmla="*/ 5408416 w 6096000"/>
              <a:gd name="connsiteY6" fmla="*/ 1246047 h 6857994"/>
              <a:gd name="connsiteX7" fmla="*/ 5471325 w 6096000"/>
              <a:gd name="connsiteY7" fmla="*/ 1301291 h 6857994"/>
              <a:gd name="connsiteX8" fmla="*/ 5483977 w 6096000"/>
              <a:gd name="connsiteY8" fmla="*/ 1218485 h 6857994"/>
              <a:gd name="connsiteX9" fmla="*/ 5427592 w 6096000"/>
              <a:gd name="connsiteY9" fmla="*/ 1181415 h 6857994"/>
              <a:gd name="connsiteX10" fmla="*/ 5285440 w 6096000"/>
              <a:gd name="connsiteY10" fmla="*/ 1181413 h 6857994"/>
              <a:gd name="connsiteX11" fmla="*/ 5229008 w 6096000"/>
              <a:gd name="connsiteY11" fmla="*/ 1218483 h 6857994"/>
              <a:gd name="connsiteX12" fmla="*/ 5241939 w 6096000"/>
              <a:gd name="connsiteY12" fmla="*/ 1301267 h 6857994"/>
              <a:gd name="connsiteX13" fmla="*/ 5304849 w 6096000"/>
              <a:gd name="connsiteY13" fmla="*/ 1246046 h 6857994"/>
              <a:gd name="connsiteX14" fmla="*/ 5285440 w 6096000"/>
              <a:gd name="connsiteY14" fmla="*/ 1181413 h 6857994"/>
              <a:gd name="connsiteX15" fmla="*/ 5490151 w 6096000"/>
              <a:gd name="connsiteY15" fmla="*/ 1145346 h 6857994"/>
              <a:gd name="connsiteX16" fmla="*/ 5494368 w 6096000"/>
              <a:gd name="connsiteY16" fmla="*/ 1197282 h 6857994"/>
              <a:gd name="connsiteX17" fmla="*/ 5493995 w 6096000"/>
              <a:gd name="connsiteY17" fmla="*/ 1212707 h 6857994"/>
              <a:gd name="connsiteX18" fmla="*/ 5572073 w 6096000"/>
              <a:gd name="connsiteY18" fmla="*/ 1242995 h 6857994"/>
              <a:gd name="connsiteX19" fmla="*/ 5555763 w 6096000"/>
              <a:gd name="connsiteY19" fmla="*/ 1160840 h 6857994"/>
              <a:gd name="connsiteX20" fmla="*/ 5490151 w 6096000"/>
              <a:gd name="connsiteY20" fmla="*/ 1145346 h 6857994"/>
              <a:gd name="connsiteX21" fmla="*/ 5222904 w 6096000"/>
              <a:gd name="connsiteY21" fmla="*/ 1145345 h 6857994"/>
              <a:gd name="connsiteX22" fmla="*/ 5157292 w 6096000"/>
              <a:gd name="connsiteY22" fmla="*/ 1160840 h 6857994"/>
              <a:gd name="connsiteX23" fmla="*/ 5140982 w 6096000"/>
              <a:gd name="connsiteY23" fmla="*/ 1242994 h 6857994"/>
              <a:gd name="connsiteX24" fmla="*/ 5219059 w 6096000"/>
              <a:gd name="connsiteY24" fmla="*/ 1212706 h 6857994"/>
              <a:gd name="connsiteX25" fmla="*/ 5218663 w 6096000"/>
              <a:gd name="connsiteY25" fmla="*/ 1197281 h 6857994"/>
              <a:gd name="connsiteX26" fmla="*/ 5222904 w 6096000"/>
              <a:gd name="connsiteY26" fmla="*/ 1145345 h 6857994"/>
              <a:gd name="connsiteX27" fmla="*/ 5382250 w 6096000"/>
              <a:gd name="connsiteY27" fmla="*/ 1132134 h 6857994"/>
              <a:gd name="connsiteX28" fmla="*/ 5362049 w 6096000"/>
              <a:gd name="connsiteY28" fmla="*/ 1184116 h 6857994"/>
              <a:gd name="connsiteX29" fmla="*/ 5400936 w 6096000"/>
              <a:gd name="connsiteY29" fmla="*/ 1237914 h 6857994"/>
              <a:gd name="connsiteX30" fmla="*/ 5419087 w 6096000"/>
              <a:gd name="connsiteY30" fmla="*/ 1174074 h 6857994"/>
              <a:gd name="connsiteX31" fmla="*/ 5382250 w 6096000"/>
              <a:gd name="connsiteY31" fmla="*/ 1132134 h 6857994"/>
              <a:gd name="connsiteX32" fmla="*/ 5330782 w 6096000"/>
              <a:gd name="connsiteY32" fmla="*/ 1132132 h 6857994"/>
              <a:gd name="connsiteX33" fmla="*/ 5293968 w 6096000"/>
              <a:gd name="connsiteY33" fmla="*/ 1174258 h 6857994"/>
              <a:gd name="connsiteX34" fmla="*/ 5312118 w 6096000"/>
              <a:gd name="connsiteY34" fmla="*/ 1238100 h 6857994"/>
              <a:gd name="connsiteX35" fmla="*/ 5351006 w 6096000"/>
              <a:gd name="connsiteY35" fmla="*/ 1184184 h 6857994"/>
              <a:gd name="connsiteX36" fmla="*/ 5330782 w 6096000"/>
              <a:gd name="connsiteY36" fmla="*/ 1132132 h 6857994"/>
              <a:gd name="connsiteX37" fmla="*/ 5430644 w 6096000"/>
              <a:gd name="connsiteY37" fmla="*/ 1114473 h 6857994"/>
              <a:gd name="connsiteX38" fmla="*/ 5431949 w 6096000"/>
              <a:gd name="connsiteY38" fmla="*/ 1136887 h 6857994"/>
              <a:gd name="connsiteX39" fmla="*/ 5429386 w 6096000"/>
              <a:gd name="connsiteY39" fmla="*/ 1170392 h 6857994"/>
              <a:gd name="connsiteX40" fmla="*/ 5484373 w 6096000"/>
              <a:gd name="connsiteY40" fmla="*/ 1207672 h 6857994"/>
              <a:gd name="connsiteX41" fmla="*/ 5484583 w 6096000"/>
              <a:gd name="connsiteY41" fmla="*/ 1197373 h 6857994"/>
              <a:gd name="connsiteX42" fmla="*/ 5479574 w 6096000"/>
              <a:gd name="connsiteY42" fmla="*/ 1141454 h 6857994"/>
              <a:gd name="connsiteX43" fmla="*/ 5430644 w 6096000"/>
              <a:gd name="connsiteY43" fmla="*/ 1114473 h 6857994"/>
              <a:gd name="connsiteX44" fmla="*/ 5282388 w 6096000"/>
              <a:gd name="connsiteY44" fmla="*/ 1114471 h 6857994"/>
              <a:gd name="connsiteX45" fmla="*/ 5233435 w 6096000"/>
              <a:gd name="connsiteY45" fmla="*/ 1141522 h 6857994"/>
              <a:gd name="connsiteX46" fmla="*/ 5228379 w 6096000"/>
              <a:gd name="connsiteY46" fmla="*/ 1197303 h 6857994"/>
              <a:gd name="connsiteX47" fmla="*/ 5228636 w 6096000"/>
              <a:gd name="connsiteY47" fmla="*/ 1207647 h 6857994"/>
              <a:gd name="connsiteX48" fmla="*/ 5283576 w 6096000"/>
              <a:gd name="connsiteY48" fmla="*/ 1170367 h 6857994"/>
              <a:gd name="connsiteX49" fmla="*/ 5281083 w 6096000"/>
              <a:gd name="connsiteY49" fmla="*/ 1136909 h 6857994"/>
              <a:gd name="connsiteX50" fmla="*/ 5282388 w 6096000"/>
              <a:gd name="connsiteY50" fmla="*/ 1114471 h 6857994"/>
              <a:gd name="connsiteX51" fmla="*/ 5603481 w 6096000"/>
              <a:gd name="connsiteY51" fmla="*/ 1082157 h 6857994"/>
              <a:gd name="connsiteX52" fmla="*/ 5536564 w 6096000"/>
              <a:gd name="connsiteY52" fmla="*/ 1090102 h 6857994"/>
              <a:gd name="connsiteX53" fmla="*/ 5563056 w 6096000"/>
              <a:gd name="connsiteY53" fmla="*/ 1152010 h 6857994"/>
              <a:gd name="connsiteX54" fmla="*/ 5646935 w 6096000"/>
              <a:gd name="connsiteY54" fmla="*/ 1153804 h 6857994"/>
              <a:gd name="connsiteX55" fmla="*/ 5603481 w 6096000"/>
              <a:gd name="connsiteY55" fmla="*/ 1082157 h 6857994"/>
              <a:gd name="connsiteX56" fmla="*/ 5109574 w 6096000"/>
              <a:gd name="connsiteY56" fmla="*/ 1082156 h 6857994"/>
              <a:gd name="connsiteX57" fmla="*/ 5066050 w 6096000"/>
              <a:gd name="connsiteY57" fmla="*/ 1153710 h 6857994"/>
              <a:gd name="connsiteX58" fmla="*/ 5149789 w 6096000"/>
              <a:gd name="connsiteY58" fmla="*/ 1151893 h 6857994"/>
              <a:gd name="connsiteX59" fmla="*/ 5176537 w 6096000"/>
              <a:gd name="connsiteY59" fmla="*/ 1090101 h 6857994"/>
              <a:gd name="connsiteX60" fmla="*/ 5109574 w 6096000"/>
              <a:gd name="connsiteY60" fmla="*/ 1082156 h 6857994"/>
              <a:gd name="connsiteX61" fmla="*/ 5470044 w 6096000"/>
              <a:gd name="connsiteY61" fmla="*/ 1081410 h 6857994"/>
              <a:gd name="connsiteX62" fmla="*/ 5488055 w 6096000"/>
              <a:gd name="connsiteY62" fmla="*/ 1134254 h 6857994"/>
              <a:gd name="connsiteX63" fmla="*/ 5552432 w 6096000"/>
              <a:gd name="connsiteY63" fmla="*/ 1150564 h 6857994"/>
              <a:gd name="connsiteX64" fmla="*/ 5525264 w 6096000"/>
              <a:gd name="connsiteY64" fmla="*/ 1089984 h 6857994"/>
              <a:gd name="connsiteX65" fmla="*/ 5470044 w 6096000"/>
              <a:gd name="connsiteY65" fmla="*/ 1081410 h 6857994"/>
              <a:gd name="connsiteX66" fmla="*/ 5242988 w 6096000"/>
              <a:gd name="connsiteY66" fmla="*/ 1081410 h 6857994"/>
              <a:gd name="connsiteX67" fmla="*/ 5187744 w 6096000"/>
              <a:gd name="connsiteY67" fmla="*/ 1090031 h 6857994"/>
              <a:gd name="connsiteX68" fmla="*/ 5160623 w 6096000"/>
              <a:gd name="connsiteY68" fmla="*/ 1150610 h 6857994"/>
              <a:gd name="connsiteX69" fmla="*/ 5224977 w 6096000"/>
              <a:gd name="connsiteY69" fmla="*/ 1134300 h 6857994"/>
              <a:gd name="connsiteX70" fmla="*/ 5242988 w 6096000"/>
              <a:gd name="connsiteY70" fmla="*/ 1081410 h 6857994"/>
              <a:gd name="connsiteX71" fmla="*/ 5356504 w 6096000"/>
              <a:gd name="connsiteY71" fmla="*/ 1076631 h 6857994"/>
              <a:gd name="connsiteX72" fmla="*/ 5338051 w 6096000"/>
              <a:gd name="connsiteY72" fmla="*/ 1120574 h 6857994"/>
              <a:gd name="connsiteX73" fmla="*/ 5356504 w 6096000"/>
              <a:gd name="connsiteY73" fmla="*/ 1173581 h 6857994"/>
              <a:gd name="connsiteX74" fmla="*/ 5374958 w 6096000"/>
              <a:gd name="connsiteY74" fmla="*/ 1120574 h 6857994"/>
              <a:gd name="connsiteX75" fmla="*/ 5356504 w 6096000"/>
              <a:gd name="connsiteY75" fmla="*/ 1076631 h 6857994"/>
              <a:gd name="connsiteX76" fmla="*/ 5387469 w 6096000"/>
              <a:gd name="connsiteY76" fmla="*/ 1071180 h 6857994"/>
              <a:gd name="connsiteX77" fmla="*/ 5388168 w 6096000"/>
              <a:gd name="connsiteY77" fmla="*/ 1085603 h 6857994"/>
              <a:gd name="connsiteX78" fmla="*/ 5385116 w 6096000"/>
              <a:gd name="connsiteY78" fmla="*/ 1118758 h 6857994"/>
              <a:gd name="connsiteX79" fmla="*/ 5420508 w 6096000"/>
              <a:gd name="connsiteY79" fmla="*/ 1162212 h 6857994"/>
              <a:gd name="connsiteX80" fmla="*/ 5422139 w 6096000"/>
              <a:gd name="connsiteY80" fmla="*/ 1136839 h 6857994"/>
              <a:gd name="connsiteX81" fmla="*/ 5419809 w 6096000"/>
              <a:gd name="connsiteY81" fmla="*/ 1106130 h 6857994"/>
              <a:gd name="connsiteX82" fmla="*/ 5387469 w 6096000"/>
              <a:gd name="connsiteY82" fmla="*/ 1071180 h 6857994"/>
              <a:gd name="connsiteX83" fmla="*/ 5325562 w 6096000"/>
              <a:gd name="connsiteY83" fmla="*/ 1071179 h 6857994"/>
              <a:gd name="connsiteX84" fmla="*/ 5293152 w 6096000"/>
              <a:gd name="connsiteY84" fmla="*/ 1106175 h 6857994"/>
              <a:gd name="connsiteX85" fmla="*/ 5290823 w 6096000"/>
              <a:gd name="connsiteY85" fmla="*/ 1136908 h 6857994"/>
              <a:gd name="connsiteX86" fmla="*/ 5292430 w 6096000"/>
              <a:gd name="connsiteY86" fmla="*/ 1162258 h 6857994"/>
              <a:gd name="connsiteX87" fmla="*/ 5327869 w 6096000"/>
              <a:gd name="connsiteY87" fmla="*/ 1118757 h 6857994"/>
              <a:gd name="connsiteX88" fmla="*/ 5324887 w 6096000"/>
              <a:gd name="connsiteY88" fmla="*/ 1085602 h 6857994"/>
              <a:gd name="connsiteX89" fmla="*/ 5325562 w 6096000"/>
              <a:gd name="connsiteY89" fmla="*/ 1071179 h 6857994"/>
              <a:gd name="connsiteX90" fmla="*/ 5414684 w 6096000"/>
              <a:gd name="connsiteY90" fmla="*/ 1055430 h 6857994"/>
              <a:gd name="connsiteX91" fmla="*/ 5428827 w 6096000"/>
              <a:gd name="connsiteY91" fmla="*/ 1101051 h 6857994"/>
              <a:gd name="connsiteX92" fmla="*/ 5477011 w 6096000"/>
              <a:gd name="connsiteY92" fmla="*/ 1129779 h 6857994"/>
              <a:gd name="connsiteX93" fmla="*/ 5457066 w 6096000"/>
              <a:gd name="connsiteY93" fmla="*/ 1077332 h 6857994"/>
              <a:gd name="connsiteX94" fmla="*/ 5414684 w 6096000"/>
              <a:gd name="connsiteY94" fmla="*/ 1055430 h 6857994"/>
              <a:gd name="connsiteX95" fmla="*/ 5298348 w 6096000"/>
              <a:gd name="connsiteY95" fmla="*/ 1055429 h 6857994"/>
              <a:gd name="connsiteX96" fmla="*/ 5255989 w 6096000"/>
              <a:gd name="connsiteY96" fmla="*/ 1077330 h 6857994"/>
              <a:gd name="connsiteX97" fmla="*/ 5235998 w 6096000"/>
              <a:gd name="connsiteY97" fmla="*/ 1129708 h 6857994"/>
              <a:gd name="connsiteX98" fmla="*/ 5284252 w 6096000"/>
              <a:gd name="connsiteY98" fmla="*/ 1100980 h 6857994"/>
              <a:gd name="connsiteX99" fmla="*/ 5298348 w 6096000"/>
              <a:gd name="connsiteY99" fmla="*/ 1055429 h 6857994"/>
              <a:gd name="connsiteX100" fmla="*/ 5278193 w 6096000"/>
              <a:gd name="connsiteY100" fmla="*/ 1031383 h 6857994"/>
              <a:gd name="connsiteX101" fmla="*/ 5230779 w 6096000"/>
              <a:gd name="connsiteY101" fmla="*/ 1037464 h 6857994"/>
              <a:gd name="connsiteX102" fmla="*/ 5194198 w 6096000"/>
              <a:gd name="connsiteY102" fmla="*/ 1079870 h 6857994"/>
              <a:gd name="connsiteX103" fmla="*/ 5249302 w 6096000"/>
              <a:gd name="connsiteY103" fmla="*/ 1069315 h 6857994"/>
              <a:gd name="connsiteX104" fmla="*/ 5278193 w 6096000"/>
              <a:gd name="connsiteY104" fmla="*/ 1031383 h 6857994"/>
              <a:gd name="connsiteX105" fmla="*/ 5434861 w 6096000"/>
              <a:gd name="connsiteY105" fmla="*/ 1031360 h 6857994"/>
              <a:gd name="connsiteX106" fmla="*/ 5463706 w 6096000"/>
              <a:gd name="connsiteY106" fmla="*/ 1069316 h 6857994"/>
              <a:gd name="connsiteX107" fmla="*/ 5518833 w 6096000"/>
              <a:gd name="connsiteY107" fmla="*/ 1079871 h 6857994"/>
              <a:gd name="connsiteX108" fmla="*/ 5482299 w 6096000"/>
              <a:gd name="connsiteY108" fmla="*/ 1037465 h 6857994"/>
              <a:gd name="connsiteX109" fmla="*/ 5434861 w 6096000"/>
              <a:gd name="connsiteY109" fmla="*/ 1031360 h 6857994"/>
              <a:gd name="connsiteX110" fmla="*/ 5550544 w 6096000"/>
              <a:gd name="connsiteY110" fmla="*/ 1026073 h 6857994"/>
              <a:gd name="connsiteX111" fmla="*/ 5495720 w 6096000"/>
              <a:gd name="connsiteY111" fmla="*/ 1036931 h 6857994"/>
              <a:gd name="connsiteX112" fmla="*/ 5530786 w 6096000"/>
              <a:gd name="connsiteY112" fmla="*/ 1080571 h 6857994"/>
              <a:gd name="connsiteX113" fmla="*/ 5596748 w 6096000"/>
              <a:gd name="connsiteY113" fmla="*/ 1073744 h 6857994"/>
              <a:gd name="connsiteX114" fmla="*/ 5550544 w 6096000"/>
              <a:gd name="connsiteY114" fmla="*/ 1026073 h 6857994"/>
              <a:gd name="connsiteX115" fmla="*/ 5162441 w 6096000"/>
              <a:gd name="connsiteY115" fmla="*/ 1026072 h 6857994"/>
              <a:gd name="connsiteX116" fmla="*/ 5116424 w 6096000"/>
              <a:gd name="connsiteY116" fmla="*/ 1073628 h 6857994"/>
              <a:gd name="connsiteX117" fmla="*/ 5182409 w 6096000"/>
              <a:gd name="connsiteY117" fmla="*/ 1080455 h 6857994"/>
              <a:gd name="connsiteX118" fmla="*/ 5217358 w 6096000"/>
              <a:gd name="connsiteY118" fmla="*/ 1036813 h 6857994"/>
              <a:gd name="connsiteX119" fmla="*/ 5162441 w 6096000"/>
              <a:gd name="connsiteY119" fmla="*/ 1026072 h 6857994"/>
              <a:gd name="connsiteX120" fmla="*/ 5621468 w 6096000"/>
              <a:gd name="connsiteY120" fmla="*/ 991893 h 6857994"/>
              <a:gd name="connsiteX121" fmla="*/ 5561192 w 6096000"/>
              <a:gd name="connsiteY121" fmla="*/ 1022229 h 6857994"/>
              <a:gd name="connsiteX122" fmla="*/ 5607489 w 6096000"/>
              <a:gd name="connsiteY122" fmla="*/ 1071323 h 6857994"/>
              <a:gd name="connsiteX123" fmla="*/ 5686708 w 6096000"/>
              <a:gd name="connsiteY123" fmla="*/ 1044364 h 6857994"/>
              <a:gd name="connsiteX124" fmla="*/ 5621468 w 6096000"/>
              <a:gd name="connsiteY124" fmla="*/ 991893 h 6857994"/>
              <a:gd name="connsiteX125" fmla="*/ 5091540 w 6096000"/>
              <a:gd name="connsiteY125" fmla="*/ 991893 h 6857994"/>
              <a:gd name="connsiteX126" fmla="*/ 5026301 w 6096000"/>
              <a:gd name="connsiteY126" fmla="*/ 1044364 h 6857994"/>
              <a:gd name="connsiteX127" fmla="*/ 5105520 w 6096000"/>
              <a:gd name="connsiteY127" fmla="*/ 1071323 h 6857994"/>
              <a:gd name="connsiteX128" fmla="*/ 5151840 w 6096000"/>
              <a:gd name="connsiteY128" fmla="*/ 1022183 h 6857994"/>
              <a:gd name="connsiteX129" fmla="*/ 5091540 w 6096000"/>
              <a:gd name="connsiteY129" fmla="*/ 991893 h 6857994"/>
              <a:gd name="connsiteX130" fmla="*/ 5492108 w 6096000"/>
              <a:gd name="connsiteY130" fmla="*/ 991284 h 6857994"/>
              <a:gd name="connsiteX131" fmla="*/ 5445695 w 6096000"/>
              <a:gd name="connsiteY131" fmla="*/ 1001885 h 6857994"/>
              <a:gd name="connsiteX132" fmla="*/ 5485677 w 6096000"/>
              <a:gd name="connsiteY132" fmla="*/ 1027655 h 6857994"/>
              <a:gd name="connsiteX133" fmla="*/ 5541037 w 6096000"/>
              <a:gd name="connsiteY133" fmla="*/ 1018708 h 6857994"/>
              <a:gd name="connsiteX134" fmla="*/ 5492108 w 6096000"/>
              <a:gd name="connsiteY134" fmla="*/ 991284 h 6857994"/>
              <a:gd name="connsiteX135" fmla="*/ 5220900 w 6096000"/>
              <a:gd name="connsiteY135" fmla="*/ 991284 h 6857994"/>
              <a:gd name="connsiteX136" fmla="*/ 5171947 w 6096000"/>
              <a:gd name="connsiteY136" fmla="*/ 1018615 h 6857994"/>
              <a:gd name="connsiteX137" fmla="*/ 5227330 w 6096000"/>
              <a:gd name="connsiteY137" fmla="*/ 1027562 h 6857994"/>
              <a:gd name="connsiteX138" fmla="*/ 5267336 w 6096000"/>
              <a:gd name="connsiteY138" fmla="*/ 1001932 h 6857994"/>
              <a:gd name="connsiteX139" fmla="*/ 5220900 w 6096000"/>
              <a:gd name="connsiteY139" fmla="*/ 991284 h 6857994"/>
              <a:gd name="connsiteX140" fmla="*/ 5160507 w 6096000"/>
              <a:gd name="connsiteY140" fmla="*/ 957199 h 6857994"/>
              <a:gd name="connsiteX141" fmla="*/ 5100860 w 6096000"/>
              <a:gd name="connsiteY141" fmla="*/ 986183 h 6857994"/>
              <a:gd name="connsiteX142" fmla="*/ 5160507 w 6096000"/>
              <a:gd name="connsiteY142" fmla="*/ 1015076 h 6857994"/>
              <a:gd name="connsiteX143" fmla="*/ 5208295 w 6096000"/>
              <a:gd name="connsiteY143" fmla="*/ 986183 h 6857994"/>
              <a:gd name="connsiteX144" fmla="*/ 5160507 w 6096000"/>
              <a:gd name="connsiteY144" fmla="*/ 957199 h 6857994"/>
              <a:gd name="connsiteX145" fmla="*/ 5552525 w 6096000"/>
              <a:gd name="connsiteY145" fmla="*/ 957198 h 6857994"/>
              <a:gd name="connsiteX146" fmla="*/ 5504714 w 6096000"/>
              <a:gd name="connsiteY146" fmla="*/ 986183 h 6857994"/>
              <a:gd name="connsiteX147" fmla="*/ 5552525 w 6096000"/>
              <a:gd name="connsiteY147" fmla="*/ 1015075 h 6857994"/>
              <a:gd name="connsiteX148" fmla="*/ 5612219 w 6096000"/>
              <a:gd name="connsiteY148" fmla="*/ 986136 h 6857994"/>
              <a:gd name="connsiteX149" fmla="*/ 5552525 w 6096000"/>
              <a:gd name="connsiteY149" fmla="*/ 957198 h 6857994"/>
              <a:gd name="connsiteX150" fmla="*/ 5227330 w 6096000"/>
              <a:gd name="connsiteY150" fmla="*/ 944522 h 6857994"/>
              <a:gd name="connsiteX151" fmla="*/ 5171970 w 6096000"/>
              <a:gd name="connsiteY151" fmla="*/ 953492 h 6857994"/>
              <a:gd name="connsiteX152" fmla="*/ 5220899 w 6096000"/>
              <a:gd name="connsiteY152" fmla="*/ 980870 h 6857994"/>
              <a:gd name="connsiteX153" fmla="*/ 5267289 w 6096000"/>
              <a:gd name="connsiteY153" fmla="*/ 970268 h 6857994"/>
              <a:gd name="connsiteX154" fmla="*/ 5227330 w 6096000"/>
              <a:gd name="connsiteY154" fmla="*/ 944522 h 6857994"/>
              <a:gd name="connsiteX155" fmla="*/ 5485724 w 6096000"/>
              <a:gd name="connsiteY155" fmla="*/ 944522 h 6857994"/>
              <a:gd name="connsiteX156" fmla="*/ 5445695 w 6096000"/>
              <a:gd name="connsiteY156" fmla="*/ 970361 h 6857994"/>
              <a:gd name="connsiteX157" fmla="*/ 5492155 w 6096000"/>
              <a:gd name="connsiteY157" fmla="*/ 980870 h 6857994"/>
              <a:gd name="connsiteX158" fmla="*/ 5541084 w 6096000"/>
              <a:gd name="connsiteY158" fmla="*/ 953492 h 6857994"/>
              <a:gd name="connsiteX159" fmla="*/ 5485724 w 6096000"/>
              <a:gd name="connsiteY159" fmla="*/ 944522 h 6857994"/>
              <a:gd name="connsiteX160" fmla="*/ 5105520 w 6096000"/>
              <a:gd name="connsiteY160" fmla="*/ 900931 h 6857994"/>
              <a:gd name="connsiteX161" fmla="*/ 5026301 w 6096000"/>
              <a:gd name="connsiteY161" fmla="*/ 927889 h 6857994"/>
              <a:gd name="connsiteX162" fmla="*/ 5091587 w 6096000"/>
              <a:gd name="connsiteY162" fmla="*/ 980360 h 6857994"/>
              <a:gd name="connsiteX163" fmla="*/ 5151886 w 6096000"/>
              <a:gd name="connsiteY163" fmla="*/ 950070 h 6857994"/>
              <a:gd name="connsiteX164" fmla="*/ 5105520 w 6096000"/>
              <a:gd name="connsiteY164" fmla="*/ 900931 h 6857994"/>
              <a:gd name="connsiteX165" fmla="*/ 5607418 w 6096000"/>
              <a:gd name="connsiteY165" fmla="*/ 900908 h 6857994"/>
              <a:gd name="connsiteX166" fmla="*/ 5561052 w 6096000"/>
              <a:gd name="connsiteY166" fmla="*/ 950094 h 6857994"/>
              <a:gd name="connsiteX167" fmla="*/ 5621398 w 6096000"/>
              <a:gd name="connsiteY167" fmla="*/ 980383 h 6857994"/>
              <a:gd name="connsiteX168" fmla="*/ 5686638 w 6096000"/>
              <a:gd name="connsiteY168" fmla="*/ 927889 h 6857994"/>
              <a:gd name="connsiteX169" fmla="*/ 5607418 w 6096000"/>
              <a:gd name="connsiteY169" fmla="*/ 900908 h 6857994"/>
              <a:gd name="connsiteX170" fmla="*/ 5194198 w 6096000"/>
              <a:gd name="connsiteY170" fmla="*/ 892424 h 6857994"/>
              <a:gd name="connsiteX171" fmla="*/ 5230779 w 6096000"/>
              <a:gd name="connsiteY171" fmla="*/ 934806 h 6857994"/>
              <a:gd name="connsiteX172" fmla="*/ 5278147 w 6096000"/>
              <a:gd name="connsiteY172" fmla="*/ 940911 h 6857994"/>
              <a:gd name="connsiteX173" fmla="*/ 5249302 w 6096000"/>
              <a:gd name="connsiteY173" fmla="*/ 902932 h 6857994"/>
              <a:gd name="connsiteX174" fmla="*/ 5194198 w 6096000"/>
              <a:gd name="connsiteY174" fmla="*/ 892424 h 6857994"/>
              <a:gd name="connsiteX175" fmla="*/ 5518833 w 6096000"/>
              <a:gd name="connsiteY175" fmla="*/ 892424 h 6857994"/>
              <a:gd name="connsiteX176" fmla="*/ 5463706 w 6096000"/>
              <a:gd name="connsiteY176" fmla="*/ 902932 h 6857994"/>
              <a:gd name="connsiteX177" fmla="*/ 5434861 w 6096000"/>
              <a:gd name="connsiteY177" fmla="*/ 940911 h 6857994"/>
              <a:gd name="connsiteX178" fmla="*/ 5482299 w 6096000"/>
              <a:gd name="connsiteY178" fmla="*/ 934806 h 6857994"/>
              <a:gd name="connsiteX179" fmla="*/ 5518833 w 6096000"/>
              <a:gd name="connsiteY179" fmla="*/ 892424 h 6857994"/>
              <a:gd name="connsiteX180" fmla="*/ 5182199 w 6096000"/>
              <a:gd name="connsiteY180" fmla="*/ 891844 h 6857994"/>
              <a:gd name="connsiteX181" fmla="*/ 5116121 w 6096000"/>
              <a:gd name="connsiteY181" fmla="*/ 898670 h 6857994"/>
              <a:gd name="connsiteX182" fmla="*/ 5162348 w 6096000"/>
              <a:gd name="connsiteY182" fmla="*/ 946295 h 6857994"/>
              <a:gd name="connsiteX183" fmla="*/ 5217149 w 6096000"/>
              <a:gd name="connsiteY183" fmla="*/ 935461 h 6857994"/>
              <a:gd name="connsiteX184" fmla="*/ 5182199 w 6096000"/>
              <a:gd name="connsiteY184" fmla="*/ 891844 h 6857994"/>
              <a:gd name="connsiteX185" fmla="*/ 5530786 w 6096000"/>
              <a:gd name="connsiteY185" fmla="*/ 891842 h 6857994"/>
              <a:gd name="connsiteX186" fmla="*/ 5495720 w 6096000"/>
              <a:gd name="connsiteY186" fmla="*/ 935460 h 6857994"/>
              <a:gd name="connsiteX187" fmla="*/ 5550544 w 6096000"/>
              <a:gd name="connsiteY187" fmla="*/ 946294 h 6857994"/>
              <a:gd name="connsiteX188" fmla="*/ 5596841 w 6096000"/>
              <a:gd name="connsiteY188" fmla="*/ 898669 h 6857994"/>
              <a:gd name="connsiteX189" fmla="*/ 5530786 w 6096000"/>
              <a:gd name="connsiteY189" fmla="*/ 891842 h 6857994"/>
              <a:gd name="connsiteX190" fmla="*/ 5235998 w 6096000"/>
              <a:gd name="connsiteY190" fmla="*/ 842563 h 6857994"/>
              <a:gd name="connsiteX191" fmla="*/ 5255943 w 6096000"/>
              <a:gd name="connsiteY191" fmla="*/ 895033 h 6857994"/>
              <a:gd name="connsiteX192" fmla="*/ 5298301 w 6096000"/>
              <a:gd name="connsiteY192" fmla="*/ 916842 h 6857994"/>
              <a:gd name="connsiteX193" fmla="*/ 5284205 w 6096000"/>
              <a:gd name="connsiteY193" fmla="*/ 871291 h 6857994"/>
              <a:gd name="connsiteX194" fmla="*/ 5235998 w 6096000"/>
              <a:gd name="connsiteY194" fmla="*/ 842563 h 6857994"/>
              <a:gd name="connsiteX195" fmla="*/ 5477011 w 6096000"/>
              <a:gd name="connsiteY195" fmla="*/ 842561 h 6857994"/>
              <a:gd name="connsiteX196" fmla="*/ 5428827 w 6096000"/>
              <a:gd name="connsiteY196" fmla="*/ 871290 h 6857994"/>
              <a:gd name="connsiteX197" fmla="*/ 5414684 w 6096000"/>
              <a:gd name="connsiteY197" fmla="*/ 916841 h 6857994"/>
              <a:gd name="connsiteX198" fmla="*/ 5457066 w 6096000"/>
              <a:gd name="connsiteY198" fmla="*/ 895032 h 6857994"/>
              <a:gd name="connsiteX199" fmla="*/ 5477011 w 6096000"/>
              <a:gd name="connsiteY199" fmla="*/ 842561 h 6857994"/>
              <a:gd name="connsiteX200" fmla="*/ 5160623 w 6096000"/>
              <a:gd name="connsiteY200" fmla="*/ 821781 h 6857994"/>
              <a:gd name="connsiteX201" fmla="*/ 5187744 w 6096000"/>
              <a:gd name="connsiteY201" fmla="*/ 882337 h 6857994"/>
              <a:gd name="connsiteX202" fmla="*/ 5242988 w 6096000"/>
              <a:gd name="connsiteY202" fmla="*/ 890935 h 6857994"/>
              <a:gd name="connsiteX203" fmla="*/ 5224977 w 6096000"/>
              <a:gd name="connsiteY203" fmla="*/ 837951 h 6857994"/>
              <a:gd name="connsiteX204" fmla="*/ 5160623 w 6096000"/>
              <a:gd name="connsiteY204" fmla="*/ 821781 h 6857994"/>
              <a:gd name="connsiteX205" fmla="*/ 5552432 w 6096000"/>
              <a:gd name="connsiteY205" fmla="*/ 821756 h 6857994"/>
              <a:gd name="connsiteX206" fmla="*/ 5488055 w 6096000"/>
              <a:gd name="connsiteY206" fmla="*/ 837996 h 6857994"/>
              <a:gd name="connsiteX207" fmla="*/ 5470044 w 6096000"/>
              <a:gd name="connsiteY207" fmla="*/ 890933 h 6857994"/>
              <a:gd name="connsiteX208" fmla="*/ 5525264 w 6096000"/>
              <a:gd name="connsiteY208" fmla="*/ 882335 h 6857994"/>
              <a:gd name="connsiteX209" fmla="*/ 5552432 w 6096000"/>
              <a:gd name="connsiteY209" fmla="*/ 821756 h 6857994"/>
              <a:gd name="connsiteX210" fmla="*/ 5066143 w 6096000"/>
              <a:gd name="connsiteY210" fmla="*/ 818450 h 6857994"/>
              <a:gd name="connsiteX211" fmla="*/ 5109480 w 6096000"/>
              <a:gd name="connsiteY211" fmla="*/ 890120 h 6857994"/>
              <a:gd name="connsiteX212" fmla="*/ 5176444 w 6096000"/>
              <a:gd name="connsiteY212" fmla="*/ 882151 h 6857994"/>
              <a:gd name="connsiteX213" fmla="*/ 5149789 w 6096000"/>
              <a:gd name="connsiteY213" fmla="*/ 820291 h 6857994"/>
              <a:gd name="connsiteX214" fmla="*/ 5066143 w 6096000"/>
              <a:gd name="connsiteY214" fmla="*/ 818450 h 6857994"/>
              <a:gd name="connsiteX215" fmla="*/ 5646935 w 6096000"/>
              <a:gd name="connsiteY215" fmla="*/ 818450 h 6857994"/>
              <a:gd name="connsiteX216" fmla="*/ 5563219 w 6096000"/>
              <a:gd name="connsiteY216" fmla="*/ 820267 h 6857994"/>
              <a:gd name="connsiteX217" fmla="*/ 5536564 w 6096000"/>
              <a:gd name="connsiteY217" fmla="*/ 882151 h 6857994"/>
              <a:gd name="connsiteX218" fmla="*/ 5603481 w 6096000"/>
              <a:gd name="connsiteY218" fmla="*/ 890120 h 6857994"/>
              <a:gd name="connsiteX219" fmla="*/ 5646935 w 6096000"/>
              <a:gd name="connsiteY219" fmla="*/ 818450 h 6857994"/>
              <a:gd name="connsiteX220" fmla="*/ 5292430 w 6096000"/>
              <a:gd name="connsiteY220" fmla="*/ 810013 h 6857994"/>
              <a:gd name="connsiteX221" fmla="*/ 5290822 w 6096000"/>
              <a:gd name="connsiteY221" fmla="*/ 835363 h 6857994"/>
              <a:gd name="connsiteX222" fmla="*/ 5293222 w 6096000"/>
              <a:gd name="connsiteY222" fmla="*/ 866119 h 6857994"/>
              <a:gd name="connsiteX223" fmla="*/ 5325562 w 6096000"/>
              <a:gd name="connsiteY223" fmla="*/ 901068 h 6857994"/>
              <a:gd name="connsiteX224" fmla="*/ 5324886 w 6096000"/>
              <a:gd name="connsiteY224" fmla="*/ 886669 h 6857994"/>
              <a:gd name="connsiteX225" fmla="*/ 5327869 w 6096000"/>
              <a:gd name="connsiteY225" fmla="*/ 853514 h 6857994"/>
              <a:gd name="connsiteX226" fmla="*/ 5292430 w 6096000"/>
              <a:gd name="connsiteY226" fmla="*/ 810013 h 6857994"/>
              <a:gd name="connsiteX227" fmla="*/ 5420601 w 6096000"/>
              <a:gd name="connsiteY227" fmla="*/ 810011 h 6857994"/>
              <a:gd name="connsiteX228" fmla="*/ 5385116 w 6096000"/>
              <a:gd name="connsiteY228" fmla="*/ 853512 h 6857994"/>
              <a:gd name="connsiteX229" fmla="*/ 5388238 w 6096000"/>
              <a:gd name="connsiteY229" fmla="*/ 886667 h 6857994"/>
              <a:gd name="connsiteX230" fmla="*/ 5387539 w 6096000"/>
              <a:gd name="connsiteY230" fmla="*/ 901066 h 6857994"/>
              <a:gd name="connsiteX231" fmla="*/ 5419902 w 6096000"/>
              <a:gd name="connsiteY231" fmla="*/ 866117 h 6857994"/>
              <a:gd name="connsiteX232" fmla="*/ 5422232 w 6096000"/>
              <a:gd name="connsiteY232" fmla="*/ 835361 h 6857994"/>
              <a:gd name="connsiteX233" fmla="*/ 5420601 w 6096000"/>
              <a:gd name="connsiteY233" fmla="*/ 810011 h 6857994"/>
              <a:gd name="connsiteX234" fmla="*/ 5356504 w 6096000"/>
              <a:gd name="connsiteY234" fmla="*/ 798711 h 6857994"/>
              <a:gd name="connsiteX235" fmla="*/ 5338051 w 6096000"/>
              <a:gd name="connsiteY235" fmla="*/ 851671 h 6857994"/>
              <a:gd name="connsiteX236" fmla="*/ 5356504 w 6096000"/>
              <a:gd name="connsiteY236" fmla="*/ 895591 h 6857994"/>
              <a:gd name="connsiteX237" fmla="*/ 5374981 w 6096000"/>
              <a:gd name="connsiteY237" fmla="*/ 851718 h 6857994"/>
              <a:gd name="connsiteX238" fmla="*/ 5356504 w 6096000"/>
              <a:gd name="connsiteY238" fmla="*/ 798711 h 6857994"/>
              <a:gd name="connsiteX239" fmla="*/ 5228635 w 6096000"/>
              <a:gd name="connsiteY239" fmla="*/ 764673 h 6857994"/>
              <a:gd name="connsiteX240" fmla="*/ 5228379 w 6096000"/>
              <a:gd name="connsiteY240" fmla="*/ 775065 h 6857994"/>
              <a:gd name="connsiteX241" fmla="*/ 5233458 w 6096000"/>
              <a:gd name="connsiteY241" fmla="*/ 830891 h 6857994"/>
              <a:gd name="connsiteX242" fmla="*/ 5282388 w 6096000"/>
              <a:gd name="connsiteY242" fmla="*/ 857802 h 6857994"/>
              <a:gd name="connsiteX243" fmla="*/ 5281083 w 6096000"/>
              <a:gd name="connsiteY243" fmla="*/ 835411 h 6857994"/>
              <a:gd name="connsiteX244" fmla="*/ 5283576 w 6096000"/>
              <a:gd name="connsiteY244" fmla="*/ 801953 h 6857994"/>
              <a:gd name="connsiteX245" fmla="*/ 5228635 w 6096000"/>
              <a:gd name="connsiteY245" fmla="*/ 764673 h 6857994"/>
              <a:gd name="connsiteX246" fmla="*/ 5484373 w 6096000"/>
              <a:gd name="connsiteY246" fmla="*/ 764672 h 6857994"/>
              <a:gd name="connsiteX247" fmla="*/ 5429386 w 6096000"/>
              <a:gd name="connsiteY247" fmla="*/ 801882 h 6857994"/>
              <a:gd name="connsiteX248" fmla="*/ 5431996 w 6096000"/>
              <a:gd name="connsiteY248" fmla="*/ 835457 h 6857994"/>
              <a:gd name="connsiteX249" fmla="*/ 5430691 w 6096000"/>
              <a:gd name="connsiteY249" fmla="*/ 857871 h 6857994"/>
              <a:gd name="connsiteX250" fmla="*/ 5479620 w 6096000"/>
              <a:gd name="connsiteY250" fmla="*/ 830936 h 6857994"/>
              <a:gd name="connsiteX251" fmla="*/ 5484630 w 6096000"/>
              <a:gd name="connsiteY251" fmla="*/ 775017 h 6857994"/>
              <a:gd name="connsiteX252" fmla="*/ 5484373 w 6096000"/>
              <a:gd name="connsiteY252" fmla="*/ 764672 h 6857994"/>
              <a:gd name="connsiteX253" fmla="*/ 5312118 w 6096000"/>
              <a:gd name="connsiteY253" fmla="*/ 734314 h 6857994"/>
              <a:gd name="connsiteX254" fmla="*/ 5293968 w 6096000"/>
              <a:gd name="connsiteY254" fmla="*/ 798225 h 6857994"/>
              <a:gd name="connsiteX255" fmla="*/ 5330782 w 6096000"/>
              <a:gd name="connsiteY255" fmla="*/ 840165 h 6857994"/>
              <a:gd name="connsiteX256" fmla="*/ 5351006 w 6096000"/>
              <a:gd name="connsiteY256" fmla="*/ 788067 h 6857994"/>
              <a:gd name="connsiteX257" fmla="*/ 5312118 w 6096000"/>
              <a:gd name="connsiteY257" fmla="*/ 734314 h 6857994"/>
              <a:gd name="connsiteX258" fmla="*/ 5400913 w 6096000"/>
              <a:gd name="connsiteY258" fmla="*/ 734313 h 6857994"/>
              <a:gd name="connsiteX259" fmla="*/ 5362049 w 6096000"/>
              <a:gd name="connsiteY259" fmla="*/ 788066 h 6857994"/>
              <a:gd name="connsiteX260" fmla="*/ 5382250 w 6096000"/>
              <a:gd name="connsiteY260" fmla="*/ 840164 h 6857994"/>
              <a:gd name="connsiteX261" fmla="*/ 5419087 w 6096000"/>
              <a:gd name="connsiteY261" fmla="*/ 798108 h 6857994"/>
              <a:gd name="connsiteX262" fmla="*/ 5400913 w 6096000"/>
              <a:gd name="connsiteY262" fmla="*/ 734313 h 6857994"/>
              <a:gd name="connsiteX263" fmla="*/ 5140982 w 6096000"/>
              <a:gd name="connsiteY263" fmla="*/ 729260 h 6857994"/>
              <a:gd name="connsiteX264" fmla="*/ 5157268 w 6096000"/>
              <a:gd name="connsiteY264" fmla="*/ 811392 h 6857994"/>
              <a:gd name="connsiteX265" fmla="*/ 5222904 w 6096000"/>
              <a:gd name="connsiteY265" fmla="*/ 826909 h 6857994"/>
              <a:gd name="connsiteX266" fmla="*/ 5218663 w 6096000"/>
              <a:gd name="connsiteY266" fmla="*/ 775021 h 6857994"/>
              <a:gd name="connsiteX267" fmla="*/ 5219059 w 6096000"/>
              <a:gd name="connsiteY267" fmla="*/ 759550 h 6857994"/>
              <a:gd name="connsiteX268" fmla="*/ 5140982 w 6096000"/>
              <a:gd name="connsiteY268" fmla="*/ 729260 h 6857994"/>
              <a:gd name="connsiteX269" fmla="*/ 5572073 w 6096000"/>
              <a:gd name="connsiteY269" fmla="*/ 729259 h 6857994"/>
              <a:gd name="connsiteX270" fmla="*/ 5493972 w 6096000"/>
              <a:gd name="connsiteY270" fmla="*/ 759595 h 6857994"/>
              <a:gd name="connsiteX271" fmla="*/ 5494368 w 6096000"/>
              <a:gd name="connsiteY271" fmla="*/ 775020 h 6857994"/>
              <a:gd name="connsiteX272" fmla="*/ 5490151 w 6096000"/>
              <a:gd name="connsiteY272" fmla="*/ 826955 h 6857994"/>
              <a:gd name="connsiteX273" fmla="*/ 5555763 w 6096000"/>
              <a:gd name="connsiteY273" fmla="*/ 811437 h 6857994"/>
              <a:gd name="connsiteX274" fmla="*/ 5572073 w 6096000"/>
              <a:gd name="connsiteY274" fmla="*/ 729259 h 6857994"/>
              <a:gd name="connsiteX275" fmla="*/ 5241846 w 6096000"/>
              <a:gd name="connsiteY275" fmla="*/ 671034 h 6857994"/>
              <a:gd name="connsiteX276" fmla="*/ 5229008 w 6096000"/>
              <a:gd name="connsiteY276" fmla="*/ 753818 h 6857994"/>
              <a:gd name="connsiteX277" fmla="*/ 5285370 w 6096000"/>
              <a:gd name="connsiteY277" fmla="*/ 790911 h 6857994"/>
              <a:gd name="connsiteX278" fmla="*/ 5304755 w 6096000"/>
              <a:gd name="connsiteY278" fmla="*/ 726254 h 6857994"/>
              <a:gd name="connsiteX279" fmla="*/ 5241846 w 6096000"/>
              <a:gd name="connsiteY279" fmla="*/ 671034 h 6857994"/>
              <a:gd name="connsiteX280" fmla="*/ 5471325 w 6096000"/>
              <a:gd name="connsiteY280" fmla="*/ 671008 h 6857994"/>
              <a:gd name="connsiteX281" fmla="*/ 5408299 w 6096000"/>
              <a:gd name="connsiteY281" fmla="*/ 726252 h 6857994"/>
              <a:gd name="connsiteX282" fmla="*/ 5427708 w 6096000"/>
              <a:gd name="connsiteY282" fmla="*/ 790908 h 6857994"/>
              <a:gd name="connsiteX283" fmla="*/ 5484093 w 6096000"/>
              <a:gd name="connsiteY283" fmla="*/ 753815 h 6857994"/>
              <a:gd name="connsiteX284" fmla="*/ 5471325 w 6096000"/>
              <a:gd name="connsiteY284" fmla="*/ 671008 h 6857994"/>
              <a:gd name="connsiteX285" fmla="*/ 5356504 w 6096000"/>
              <a:gd name="connsiteY285" fmla="*/ 650809 h 6857994"/>
              <a:gd name="connsiteX286" fmla="*/ 5316126 w 6096000"/>
              <a:gd name="connsiteY286" fmla="*/ 724203 h 6857994"/>
              <a:gd name="connsiteX287" fmla="*/ 5356435 w 6096000"/>
              <a:gd name="connsiteY287" fmla="*/ 778352 h 6857994"/>
              <a:gd name="connsiteX288" fmla="*/ 5396766 w 6096000"/>
              <a:gd name="connsiteY288" fmla="*/ 724203 h 6857994"/>
              <a:gd name="connsiteX289" fmla="*/ 5356504 w 6096000"/>
              <a:gd name="connsiteY289" fmla="*/ 650809 h 6857994"/>
              <a:gd name="connsiteX290" fmla="*/ 5631650 w 6096000"/>
              <a:gd name="connsiteY290" fmla="*/ 502902 h 6857994"/>
              <a:gd name="connsiteX291" fmla="*/ 5663920 w 6096000"/>
              <a:gd name="connsiteY291" fmla="*/ 545890 h 6857994"/>
              <a:gd name="connsiteX292" fmla="*/ 5654344 w 6096000"/>
              <a:gd name="connsiteY292" fmla="*/ 582564 h 6857994"/>
              <a:gd name="connsiteX293" fmla="*/ 5629577 w 6096000"/>
              <a:gd name="connsiteY293" fmla="*/ 594028 h 6857994"/>
              <a:gd name="connsiteX294" fmla="*/ 5596701 w 6096000"/>
              <a:gd name="connsiteY294" fmla="*/ 550574 h 6857994"/>
              <a:gd name="connsiteX295" fmla="*/ 5631650 w 6096000"/>
              <a:gd name="connsiteY295" fmla="*/ 502902 h 6857994"/>
              <a:gd name="connsiteX296" fmla="*/ 5502849 w 6096000"/>
              <a:gd name="connsiteY296" fmla="*/ 500457 h 6857994"/>
              <a:gd name="connsiteX297" fmla="*/ 5535725 w 6096000"/>
              <a:gd name="connsiteY297" fmla="*/ 545891 h 6857994"/>
              <a:gd name="connsiteX298" fmla="*/ 5501847 w 6096000"/>
              <a:gd name="connsiteY298" fmla="*/ 591442 h 6857994"/>
              <a:gd name="connsiteX299" fmla="*/ 5469228 w 6096000"/>
              <a:gd name="connsiteY299" fmla="*/ 547056 h 6857994"/>
              <a:gd name="connsiteX300" fmla="*/ 5502849 w 6096000"/>
              <a:gd name="connsiteY300" fmla="*/ 500457 h 6857994"/>
              <a:gd name="connsiteX301" fmla="*/ 5637731 w 6096000"/>
              <a:gd name="connsiteY301" fmla="*/ 486546 h 6857994"/>
              <a:gd name="connsiteX302" fmla="*/ 5597796 w 6096000"/>
              <a:gd name="connsiteY302" fmla="*/ 507795 h 6857994"/>
              <a:gd name="connsiteX303" fmla="*/ 5597143 w 6096000"/>
              <a:gd name="connsiteY303" fmla="*/ 488433 h 6857994"/>
              <a:gd name="connsiteX304" fmla="*/ 5574962 w 6096000"/>
              <a:gd name="connsiteY304" fmla="*/ 488433 h 6857994"/>
              <a:gd name="connsiteX305" fmla="*/ 5575661 w 6096000"/>
              <a:gd name="connsiteY305" fmla="*/ 507562 h 6857994"/>
              <a:gd name="connsiteX306" fmla="*/ 5575731 w 6096000"/>
              <a:gd name="connsiteY306" fmla="*/ 650763 h 6857994"/>
              <a:gd name="connsiteX307" fmla="*/ 5597470 w 6096000"/>
              <a:gd name="connsiteY307" fmla="*/ 650763 h 6857994"/>
              <a:gd name="connsiteX308" fmla="*/ 5597470 w 6096000"/>
              <a:gd name="connsiteY308" fmla="*/ 592700 h 6857994"/>
              <a:gd name="connsiteX309" fmla="*/ 5633421 w 6096000"/>
              <a:gd name="connsiteY309" fmla="*/ 610198 h 6857994"/>
              <a:gd name="connsiteX310" fmla="*/ 5687010 w 6096000"/>
              <a:gd name="connsiteY310" fmla="*/ 547288 h 6857994"/>
              <a:gd name="connsiteX311" fmla="*/ 5637731 w 6096000"/>
              <a:gd name="connsiteY311" fmla="*/ 486546 h 6857994"/>
              <a:gd name="connsiteX312" fmla="*/ 5447652 w 6096000"/>
              <a:gd name="connsiteY312" fmla="*/ 443582 h 6857994"/>
              <a:gd name="connsiteX313" fmla="*/ 5447652 w 6096000"/>
              <a:gd name="connsiteY313" fmla="*/ 584685 h 6857994"/>
              <a:gd name="connsiteX314" fmla="*/ 5447163 w 6096000"/>
              <a:gd name="connsiteY314" fmla="*/ 605655 h 6857994"/>
              <a:gd name="connsiteX315" fmla="*/ 5468412 w 6096000"/>
              <a:gd name="connsiteY315" fmla="*/ 605655 h 6857994"/>
              <a:gd name="connsiteX316" fmla="*/ 5468995 w 6096000"/>
              <a:gd name="connsiteY316" fmla="*/ 588040 h 6857994"/>
              <a:gd name="connsiteX317" fmla="*/ 5480458 w 6096000"/>
              <a:gd name="connsiteY317" fmla="*/ 599947 h 6857994"/>
              <a:gd name="connsiteX318" fmla="*/ 5506601 w 6096000"/>
              <a:gd name="connsiteY318" fmla="*/ 607426 h 6857994"/>
              <a:gd name="connsiteX319" fmla="*/ 5547748 w 6096000"/>
              <a:gd name="connsiteY319" fmla="*/ 587341 h 6857994"/>
              <a:gd name="connsiteX320" fmla="*/ 5558955 w 6096000"/>
              <a:gd name="connsiteY320" fmla="*/ 544563 h 6857994"/>
              <a:gd name="connsiteX321" fmla="*/ 5545162 w 6096000"/>
              <a:gd name="connsiteY321" fmla="*/ 500433 h 6857994"/>
              <a:gd name="connsiteX322" fmla="*/ 5508022 w 6096000"/>
              <a:gd name="connsiteY322" fmla="*/ 485475 h 6857994"/>
              <a:gd name="connsiteX323" fmla="*/ 5469717 w 6096000"/>
              <a:gd name="connsiteY323" fmla="*/ 505559 h 6857994"/>
              <a:gd name="connsiteX324" fmla="*/ 5469624 w 6096000"/>
              <a:gd name="connsiteY324" fmla="*/ 443582 h 6857994"/>
              <a:gd name="connsiteX325" fmla="*/ 0 w 6096000"/>
              <a:gd name="connsiteY325" fmla="*/ 0 h 6857994"/>
              <a:gd name="connsiteX326" fmla="*/ 6096000 w 6096000"/>
              <a:gd name="connsiteY326" fmla="*/ 0 h 6857994"/>
              <a:gd name="connsiteX327" fmla="*/ 6096000 w 6096000"/>
              <a:gd name="connsiteY327" fmla="*/ 6857994 h 6857994"/>
              <a:gd name="connsiteX328" fmla="*/ 0 w 6096000"/>
              <a:gd name="connsiteY328"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6096000" h="6857994">
                <a:moveTo>
                  <a:pt x="5356504" y="1193834"/>
                </a:moveTo>
                <a:cubicBezTo>
                  <a:pt x="5344961" y="1213265"/>
                  <a:pt x="5331419" y="1231434"/>
                  <a:pt x="5316102" y="1248052"/>
                </a:cubicBezTo>
                <a:cubicBezTo>
                  <a:pt x="5327363" y="1273656"/>
                  <a:pt x="5340851" y="1298223"/>
                  <a:pt x="5356411" y="1321469"/>
                </a:cubicBezTo>
                <a:cubicBezTo>
                  <a:pt x="5372007" y="1298239"/>
                  <a:pt x="5385512" y="1273670"/>
                  <a:pt x="5396766" y="1248052"/>
                </a:cubicBezTo>
                <a:cubicBezTo>
                  <a:pt x="5381516" y="1231412"/>
                  <a:pt x="5368025" y="1213244"/>
                  <a:pt x="5356504" y="1193834"/>
                </a:cubicBezTo>
                <a:close/>
                <a:moveTo>
                  <a:pt x="5427592" y="1181415"/>
                </a:moveTo>
                <a:cubicBezTo>
                  <a:pt x="5423456" y="1203566"/>
                  <a:pt x="5417030" y="1225225"/>
                  <a:pt x="5408416" y="1246047"/>
                </a:cubicBezTo>
                <a:cubicBezTo>
                  <a:pt x="5427755" y="1266239"/>
                  <a:pt x="5448804" y="1284723"/>
                  <a:pt x="5471325" y="1301291"/>
                </a:cubicBezTo>
                <a:cubicBezTo>
                  <a:pt x="5477980" y="1274117"/>
                  <a:pt x="5482213" y="1246406"/>
                  <a:pt x="5483977" y="1218485"/>
                </a:cubicBezTo>
                <a:cubicBezTo>
                  <a:pt x="5463953" y="1208107"/>
                  <a:pt x="5445057" y="1195686"/>
                  <a:pt x="5427592" y="1181415"/>
                </a:cubicBezTo>
                <a:close/>
                <a:moveTo>
                  <a:pt x="5285440" y="1181413"/>
                </a:moveTo>
                <a:cubicBezTo>
                  <a:pt x="5267956" y="1195682"/>
                  <a:pt x="5249046" y="1208103"/>
                  <a:pt x="5229008" y="1218483"/>
                </a:cubicBezTo>
                <a:cubicBezTo>
                  <a:pt x="5230861" y="1246405"/>
                  <a:pt x="5235188" y="1274109"/>
                  <a:pt x="5241939" y="1301267"/>
                </a:cubicBezTo>
                <a:cubicBezTo>
                  <a:pt x="5264482" y="1284733"/>
                  <a:pt x="5285531" y="1266254"/>
                  <a:pt x="5304849" y="1246046"/>
                </a:cubicBezTo>
                <a:cubicBezTo>
                  <a:pt x="5296162" y="1225230"/>
                  <a:pt x="5289657" y="1203571"/>
                  <a:pt x="5285440" y="1181413"/>
                </a:cubicBezTo>
                <a:close/>
                <a:moveTo>
                  <a:pt x="5490151" y="1145346"/>
                </a:moveTo>
                <a:cubicBezTo>
                  <a:pt x="5492980" y="1162513"/>
                  <a:pt x="5494392" y="1179883"/>
                  <a:pt x="5494368" y="1197282"/>
                </a:cubicBezTo>
                <a:cubicBezTo>
                  <a:pt x="5494368" y="1202338"/>
                  <a:pt x="5494205" y="1207511"/>
                  <a:pt x="5493995" y="1212707"/>
                </a:cubicBezTo>
                <a:cubicBezTo>
                  <a:pt x="5519068" y="1225106"/>
                  <a:pt x="5545197" y="1235244"/>
                  <a:pt x="5572073" y="1242995"/>
                </a:cubicBezTo>
                <a:cubicBezTo>
                  <a:pt x="5569072" y="1215183"/>
                  <a:pt x="5563613" y="1187692"/>
                  <a:pt x="5555763" y="1160840"/>
                </a:cubicBezTo>
                <a:cubicBezTo>
                  <a:pt x="5533414" y="1157963"/>
                  <a:pt x="5511426" y="1152772"/>
                  <a:pt x="5490151" y="1145346"/>
                </a:cubicBezTo>
                <a:close/>
                <a:moveTo>
                  <a:pt x="5222904" y="1145345"/>
                </a:moveTo>
                <a:cubicBezTo>
                  <a:pt x="5201627" y="1152761"/>
                  <a:pt x="5179639" y="1157955"/>
                  <a:pt x="5157292" y="1160840"/>
                </a:cubicBezTo>
                <a:cubicBezTo>
                  <a:pt x="5149450" y="1187693"/>
                  <a:pt x="5143993" y="1215185"/>
                  <a:pt x="5140982" y="1242994"/>
                </a:cubicBezTo>
                <a:cubicBezTo>
                  <a:pt x="5167852" y="1235226"/>
                  <a:pt x="5193980" y="1225091"/>
                  <a:pt x="5219059" y="1212706"/>
                </a:cubicBezTo>
                <a:cubicBezTo>
                  <a:pt x="5218850" y="1207510"/>
                  <a:pt x="5218663" y="1202337"/>
                  <a:pt x="5218663" y="1197281"/>
                </a:cubicBezTo>
                <a:cubicBezTo>
                  <a:pt x="5218636" y="1179880"/>
                  <a:pt x="5220055" y="1162510"/>
                  <a:pt x="5222904" y="1145345"/>
                </a:cubicBezTo>
                <a:close/>
                <a:moveTo>
                  <a:pt x="5382250" y="1132134"/>
                </a:moveTo>
                <a:cubicBezTo>
                  <a:pt x="5377669" y="1150224"/>
                  <a:pt x="5370887" y="1167680"/>
                  <a:pt x="5362049" y="1184116"/>
                </a:cubicBezTo>
                <a:cubicBezTo>
                  <a:pt x="5373037" y="1203396"/>
                  <a:pt x="5386076" y="1221433"/>
                  <a:pt x="5400936" y="1237914"/>
                </a:cubicBezTo>
                <a:cubicBezTo>
                  <a:pt x="5409245" y="1217341"/>
                  <a:pt x="5415328" y="1195940"/>
                  <a:pt x="5419087" y="1174074"/>
                </a:cubicBezTo>
                <a:cubicBezTo>
                  <a:pt x="5405133" y="1161657"/>
                  <a:pt x="5392760" y="1147572"/>
                  <a:pt x="5382250" y="1132134"/>
                </a:cubicBezTo>
                <a:close/>
                <a:moveTo>
                  <a:pt x="5330782" y="1132132"/>
                </a:moveTo>
                <a:cubicBezTo>
                  <a:pt x="5320297" y="1147640"/>
                  <a:pt x="5307932" y="1161791"/>
                  <a:pt x="5293968" y="1174258"/>
                </a:cubicBezTo>
                <a:cubicBezTo>
                  <a:pt x="5297698" y="1196133"/>
                  <a:pt x="5303784" y="1217535"/>
                  <a:pt x="5312118" y="1238100"/>
                </a:cubicBezTo>
                <a:cubicBezTo>
                  <a:pt x="5326981" y="1221578"/>
                  <a:pt x="5340020" y="1203501"/>
                  <a:pt x="5351006" y="1184184"/>
                </a:cubicBezTo>
                <a:cubicBezTo>
                  <a:pt x="5342147" y="1167733"/>
                  <a:pt x="5335353" y="1150250"/>
                  <a:pt x="5330782" y="1132132"/>
                </a:cubicBezTo>
                <a:close/>
                <a:moveTo>
                  <a:pt x="5430644" y="1114473"/>
                </a:moveTo>
                <a:cubicBezTo>
                  <a:pt x="5431457" y="1121917"/>
                  <a:pt x="5431893" y="1129399"/>
                  <a:pt x="5431949" y="1136887"/>
                </a:cubicBezTo>
                <a:cubicBezTo>
                  <a:pt x="5431893" y="1148101"/>
                  <a:pt x="5431036" y="1159299"/>
                  <a:pt x="5429386" y="1170392"/>
                </a:cubicBezTo>
                <a:cubicBezTo>
                  <a:pt x="5446304" y="1184782"/>
                  <a:pt x="5464741" y="1197285"/>
                  <a:pt x="5484373" y="1207672"/>
                </a:cubicBezTo>
                <a:cubicBezTo>
                  <a:pt x="5484443" y="1204247"/>
                  <a:pt x="5484583" y="1200752"/>
                  <a:pt x="5484583" y="1197373"/>
                </a:cubicBezTo>
                <a:cubicBezTo>
                  <a:pt x="5484679" y="1178617"/>
                  <a:pt x="5483001" y="1159892"/>
                  <a:pt x="5479574" y="1141454"/>
                </a:cubicBezTo>
                <a:cubicBezTo>
                  <a:pt x="5462215" y="1134508"/>
                  <a:pt x="5445782" y="1125447"/>
                  <a:pt x="5430644" y="1114473"/>
                </a:cubicBezTo>
                <a:close/>
                <a:moveTo>
                  <a:pt x="5282388" y="1114471"/>
                </a:moveTo>
                <a:cubicBezTo>
                  <a:pt x="5267245" y="1125466"/>
                  <a:pt x="5250803" y="1134553"/>
                  <a:pt x="5233435" y="1141522"/>
                </a:cubicBezTo>
                <a:cubicBezTo>
                  <a:pt x="5230000" y="1159915"/>
                  <a:pt x="5228307" y="1178592"/>
                  <a:pt x="5228379" y="1197303"/>
                </a:cubicBezTo>
                <a:cubicBezTo>
                  <a:pt x="5228379" y="1200657"/>
                  <a:pt x="5228636" y="1204223"/>
                  <a:pt x="5228636" y="1207647"/>
                </a:cubicBezTo>
                <a:cubicBezTo>
                  <a:pt x="5248249" y="1197253"/>
                  <a:pt x="5266672" y="1184752"/>
                  <a:pt x="5283576" y="1170367"/>
                </a:cubicBezTo>
                <a:cubicBezTo>
                  <a:pt x="5281962" y="1159286"/>
                  <a:pt x="5281130" y="1148107"/>
                  <a:pt x="5281083" y="1136909"/>
                </a:cubicBezTo>
                <a:cubicBezTo>
                  <a:pt x="5281130" y="1129411"/>
                  <a:pt x="5281565" y="1121922"/>
                  <a:pt x="5282388" y="1114471"/>
                </a:cubicBezTo>
                <a:close/>
                <a:moveTo>
                  <a:pt x="5603481" y="1082157"/>
                </a:moveTo>
                <a:cubicBezTo>
                  <a:pt x="5581516" y="1087150"/>
                  <a:pt x="5559088" y="1089813"/>
                  <a:pt x="5536564" y="1090102"/>
                </a:cubicBezTo>
                <a:cubicBezTo>
                  <a:pt x="5547501" y="1109772"/>
                  <a:pt x="5556378" y="1130518"/>
                  <a:pt x="5563056" y="1152010"/>
                </a:cubicBezTo>
                <a:cubicBezTo>
                  <a:pt x="5590908" y="1155067"/>
                  <a:pt x="5618977" y="1155668"/>
                  <a:pt x="5646935" y="1153804"/>
                </a:cubicBezTo>
                <a:cubicBezTo>
                  <a:pt x="5634591" y="1128687"/>
                  <a:pt x="5620049" y="1104711"/>
                  <a:pt x="5603481" y="1082157"/>
                </a:cubicBezTo>
                <a:close/>
                <a:moveTo>
                  <a:pt x="5109574" y="1082156"/>
                </a:moveTo>
                <a:cubicBezTo>
                  <a:pt x="5092969" y="1104667"/>
                  <a:pt x="5078404" y="1128614"/>
                  <a:pt x="5066050" y="1153710"/>
                </a:cubicBezTo>
                <a:cubicBezTo>
                  <a:pt x="5093962" y="1155570"/>
                  <a:pt x="5121984" y="1154962"/>
                  <a:pt x="5149789" y="1151893"/>
                </a:cubicBezTo>
                <a:cubicBezTo>
                  <a:pt x="5156540" y="1130425"/>
                  <a:pt x="5165504" y="1109716"/>
                  <a:pt x="5176537" y="1090101"/>
                </a:cubicBezTo>
                <a:cubicBezTo>
                  <a:pt x="5153999" y="1089819"/>
                  <a:pt x="5131553" y="1087157"/>
                  <a:pt x="5109574" y="1082156"/>
                </a:cubicBezTo>
                <a:close/>
                <a:moveTo>
                  <a:pt x="5470044" y="1081410"/>
                </a:moveTo>
                <a:cubicBezTo>
                  <a:pt x="5478215" y="1098209"/>
                  <a:pt x="5484266" y="1115961"/>
                  <a:pt x="5488055" y="1134254"/>
                </a:cubicBezTo>
                <a:cubicBezTo>
                  <a:pt x="5508859" y="1142006"/>
                  <a:pt x="5530446" y="1147474"/>
                  <a:pt x="5552432" y="1150564"/>
                </a:cubicBezTo>
                <a:cubicBezTo>
                  <a:pt x="5545598" y="1129445"/>
                  <a:pt x="5536488" y="1109135"/>
                  <a:pt x="5525264" y="1089984"/>
                </a:cubicBezTo>
                <a:cubicBezTo>
                  <a:pt x="5506576" y="1089397"/>
                  <a:pt x="5488031" y="1086517"/>
                  <a:pt x="5470044" y="1081410"/>
                </a:cubicBezTo>
                <a:close/>
                <a:moveTo>
                  <a:pt x="5242988" y="1081410"/>
                </a:moveTo>
                <a:cubicBezTo>
                  <a:pt x="5224995" y="1086531"/>
                  <a:pt x="5206442" y="1089427"/>
                  <a:pt x="5187744" y="1090031"/>
                </a:cubicBezTo>
                <a:cubicBezTo>
                  <a:pt x="5176549" y="1109188"/>
                  <a:pt x="5167456" y="1129501"/>
                  <a:pt x="5160623" y="1150610"/>
                </a:cubicBezTo>
                <a:cubicBezTo>
                  <a:pt x="5182601" y="1147516"/>
                  <a:pt x="5204178" y="1142048"/>
                  <a:pt x="5224977" y="1134300"/>
                </a:cubicBezTo>
                <a:cubicBezTo>
                  <a:pt x="5228762" y="1115991"/>
                  <a:pt x="5234812" y="1098223"/>
                  <a:pt x="5242988" y="1081410"/>
                </a:cubicBezTo>
                <a:close/>
                <a:moveTo>
                  <a:pt x="5356504" y="1076631"/>
                </a:moveTo>
                <a:cubicBezTo>
                  <a:pt x="5352224" y="1091995"/>
                  <a:pt x="5346024" y="1106760"/>
                  <a:pt x="5338051" y="1120574"/>
                </a:cubicBezTo>
                <a:cubicBezTo>
                  <a:pt x="5341819" y="1138986"/>
                  <a:pt x="5348023" y="1156812"/>
                  <a:pt x="5356504" y="1173581"/>
                </a:cubicBezTo>
                <a:cubicBezTo>
                  <a:pt x="5364995" y="1156815"/>
                  <a:pt x="5371202" y="1138988"/>
                  <a:pt x="5374958" y="1120574"/>
                </a:cubicBezTo>
                <a:cubicBezTo>
                  <a:pt x="5367024" y="1106741"/>
                  <a:pt x="5360824" y="1091981"/>
                  <a:pt x="5356504" y="1076631"/>
                </a:cubicBezTo>
                <a:close/>
                <a:moveTo>
                  <a:pt x="5387469" y="1071180"/>
                </a:moveTo>
                <a:cubicBezTo>
                  <a:pt x="5387842" y="1076003"/>
                  <a:pt x="5388168" y="1080780"/>
                  <a:pt x="5388168" y="1085603"/>
                </a:cubicBezTo>
                <a:cubicBezTo>
                  <a:pt x="5388129" y="1096724"/>
                  <a:pt x="5387108" y="1107817"/>
                  <a:pt x="5385116" y="1118758"/>
                </a:cubicBezTo>
                <a:cubicBezTo>
                  <a:pt x="5394914" y="1134763"/>
                  <a:pt x="5406817" y="1149379"/>
                  <a:pt x="5420508" y="1162212"/>
                </a:cubicBezTo>
                <a:cubicBezTo>
                  <a:pt x="5421531" y="1153792"/>
                  <a:pt x="5422074" y="1145320"/>
                  <a:pt x="5422139" y="1136839"/>
                </a:cubicBezTo>
                <a:cubicBezTo>
                  <a:pt x="5422177" y="1126557"/>
                  <a:pt x="5421396" y="1116288"/>
                  <a:pt x="5419809" y="1106130"/>
                </a:cubicBezTo>
                <a:cubicBezTo>
                  <a:pt x="5407626" y="1095861"/>
                  <a:pt x="5396764" y="1084123"/>
                  <a:pt x="5387469" y="1071180"/>
                </a:cubicBezTo>
                <a:close/>
                <a:moveTo>
                  <a:pt x="5325562" y="1071179"/>
                </a:moveTo>
                <a:cubicBezTo>
                  <a:pt x="5316249" y="1084141"/>
                  <a:pt x="5305364" y="1095898"/>
                  <a:pt x="5293152" y="1106175"/>
                </a:cubicBezTo>
                <a:cubicBezTo>
                  <a:pt x="5291580" y="1116343"/>
                  <a:pt x="5290799" y="1126618"/>
                  <a:pt x="5290823" y="1136908"/>
                </a:cubicBezTo>
                <a:cubicBezTo>
                  <a:pt x="5290867" y="1145382"/>
                  <a:pt x="5291405" y="1153846"/>
                  <a:pt x="5292430" y="1162258"/>
                </a:cubicBezTo>
                <a:cubicBezTo>
                  <a:pt x="5306130" y="1149401"/>
                  <a:pt x="5318048" y="1134773"/>
                  <a:pt x="5327869" y="1118757"/>
                </a:cubicBezTo>
                <a:cubicBezTo>
                  <a:pt x="5325900" y="1107816"/>
                  <a:pt x="5324903" y="1096720"/>
                  <a:pt x="5324887" y="1085602"/>
                </a:cubicBezTo>
                <a:cubicBezTo>
                  <a:pt x="5324887" y="1080779"/>
                  <a:pt x="5325190" y="1076002"/>
                  <a:pt x="5325562" y="1071179"/>
                </a:cubicBezTo>
                <a:close/>
                <a:moveTo>
                  <a:pt x="5414684" y="1055430"/>
                </a:moveTo>
                <a:cubicBezTo>
                  <a:pt x="5421285" y="1069988"/>
                  <a:pt x="5426038" y="1085312"/>
                  <a:pt x="5428827" y="1101051"/>
                </a:cubicBezTo>
                <a:cubicBezTo>
                  <a:pt x="5443524" y="1112750"/>
                  <a:pt x="5459732" y="1122414"/>
                  <a:pt x="5477011" y="1129779"/>
                </a:cubicBezTo>
                <a:cubicBezTo>
                  <a:pt x="5472721" y="1111489"/>
                  <a:pt x="5466016" y="1093850"/>
                  <a:pt x="5457066" y="1077332"/>
                </a:cubicBezTo>
                <a:cubicBezTo>
                  <a:pt x="5442070" y="1071849"/>
                  <a:pt x="5427830" y="1064491"/>
                  <a:pt x="5414684" y="1055430"/>
                </a:cubicBezTo>
                <a:close/>
                <a:moveTo>
                  <a:pt x="5298348" y="1055429"/>
                </a:moveTo>
                <a:cubicBezTo>
                  <a:pt x="5285207" y="1064486"/>
                  <a:pt x="5270976" y="1071843"/>
                  <a:pt x="5255989" y="1077330"/>
                </a:cubicBezTo>
                <a:cubicBezTo>
                  <a:pt x="5247011" y="1093817"/>
                  <a:pt x="5240287" y="1111432"/>
                  <a:pt x="5235998" y="1129708"/>
                </a:cubicBezTo>
                <a:cubicBezTo>
                  <a:pt x="5253296" y="1122337"/>
                  <a:pt x="5269526" y="1112672"/>
                  <a:pt x="5284252" y="1100980"/>
                </a:cubicBezTo>
                <a:cubicBezTo>
                  <a:pt x="5287031" y="1085266"/>
                  <a:pt x="5291766" y="1069966"/>
                  <a:pt x="5298348" y="1055429"/>
                </a:cubicBezTo>
                <a:close/>
                <a:moveTo>
                  <a:pt x="5278193" y="1031383"/>
                </a:moveTo>
                <a:cubicBezTo>
                  <a:pt x="5262702" y="1035372"/>
                  <a:pt x="5246775" y="1037415"/>
                  <a:pt x="5230779" y="1037464"/>
                </a:cubicBezTo>
                <a:cubicBezTo>
                  <a:pt x="5216745" y="1049902"/>
                  <a:pt x="5204442" y="1064163"/>
                  <a:pt x="5194198" y="1079870"/>
                </a:cubicBezTo>
                <a:cubicBezTo>
                  <a:pt x="5212955" y="1078828"/>
                  <a:pt x="5231488" y="1075277"/>
                  <a:pt x="5249302" y="1069315"/>
                </a:cubicBezTo>
                <a:cubicBezTo>
                  <a:pt x="5257290" y="1055501"/>
                  <a:pt x="5266998" y="1042756"/>
                  <a:pt x="5278193" y="1031383"/>
                </a:cubicBezTo>
                <a:close/>
                <a:moveTo>
                  <a:pt x="5434861" y="1031360"/>
                </a:moveTo>
                <a:cubicBezTo>
                  <a:pt x="5446045" y="1042740"/>
                  <a:pt x="5455735" y="1055495"/>
                  <a:pt x="5463706" y="1069316"/>
                </a:cubicBezTo>
                <a:cubicBezTo>
                  <a:pt x="5481530" y="1075273"/>
                  <a:pt x="5500070" y="1078822"/>
                  <a:pt x="5518833" y="1079871"/>
                </a:cubicBezTo>
                <a:cubicBezTo>
                  <a:pt x="5508609" y="1064162"/>
                  <a:pt x="5496323" y="1049900"/>
                  <a:pt x="5482299" y="1037465"/>
                </a:cubicBezTo>
                <a:cubicBezTo>
                  <a:pt x="5466292" y="1037427"/>
                  <a:pt x="5450355" y="1035377"/>
                  <a:pt x="5434861" y="1031360"/>
                </a:cubicBezTo>
                <a:close/>
                <a:moveTo>
                  <a:pt x="5550544" y="1026073"/>
                </a:moveTo>
                <a:cubicBezTo>
                  <a:pt x="5532790" y="1031947"/>
                  <a:pt x="5514374" y="1035593"/>
                  <a:pt x="5495720" y="1036931"/>
                </a:cubicBezTo>
                <a:cubicBezTo>
                  <a:pt x="5509129" y="1050006"/>
                  <a:pt x="5520905" y="1064660"/>
                  <a:pt x="5530786" y="1080571"/>
                </a:cubicBezTo>
                <a:cubicBezTo>
                  <a:pt x="5552953" y="1080660"/>
                  <a:pt x="5575067" y="1078369"/>
                  <a:pt x="5596748" y="1073744"/>
                </a:cubicBezTo>
                <a:cubicBezTo>
                  <a:pt x="5583099" y="1056244"/>
                  <a:pt x="5567609" y="1040263"/>
                  <a:pt x="5550544" y="1026073"/>
                </a:cubicBezTo>
                <a:close/>
                <a:moveTo>
                  <a:pt x="5162441" y="1026072"/>
                </a:moveTo>
                <a:cubicBezTo>
                  <a:pt x="5145443" y="1040229"/>
                  <a:pt x="5130015" y="1056174"/>
                  <a:pt x="5116424" y="1073628"/>
                </a:cubicBezTo>
                <a:cubicBezTo>
                  <a:pt x="5138112" y="1078255"/>
                  <a:pt x="5160233" y="1080545"/>
                  <a:pt x="5182409" y="1080455"/>
                </a:cubicBezTo>
                <a:cubicBezTo>
                  <a:pt x="5192223" y="1064529"/>
                  <a:pt x="5203961" y="1049871"/>
                  <a:pt x="5217358" y="1036813"/>
                </a:cubicBezTo>
                <a:cubicBezTo>
                  <a:pt x="5198678" y="1035525"/>
                  <a:pt x="5180230" y="1031918"/>
                  <a:pt x="5162441" y="1026072"/>
                </a:cubicBezTo>
                <a:close/>
                <a:moveTo>
                  <a:pt x="5621468" y="991893"/>
                </a:moveTo>
                <a:cubicBezTo>
                  <a:pt x="5602477" y="1004058"/>
                  <a:pt x="5582278" y="1014223"/>
                  <a:pt x="5561192" y="1022229"/>
                </a:cubicBezTo>
                <a:cubicBezTo>
                  <a:pt x="5578296" y="1036934"/>
                  <a:pt x="5593812" y="1053387"/>
                  <a:pt x="5607489" y="1071323"/>
                </a:cubicBezTo>
                <a:cubicBezTo>
                  <a:pt x="5634640" y="1064696"/>
                  <a:pt x="5661150" y="1055675"/>
                  <a:pt x="5686708" y="1044364"/>
                </a:cubicBezTo>
                <a:cubicBezTo>
                  <a:pt x="5666544" y="1024993"/>
                  <a:pt x="5644712" y="1007434"/>
                  <a:pt x="5621468" y="991893"/>
                </a:cubicBezTo>
                <a:close/>
                <a:moveTo>
                  <a:pt x="5091540" y="991893"/>
                </a:moveTo>
                <a:cubicBezTo>
                  <a:pt x="5068292" y="1007429"/>
                  <a:pt x="5046461" y="1024988"/>
                  <a:pt x="5026301" y="1044364"/>
                </a:cubicBezTo>
                <a:cubicBezTo>
                  <a:pt x="5051858" y="1055677"/>
                  <a:pt x="5078368" y="1064698"/>
                  <a:pt x="5105520" y="1071323"/>
                </a:cubicBezTo>
                <a:cubicBezTo>
                  <a:pt x="5119220" y="1053387"/>
                  <a:pt x="5134743" y="1036917"/>
                  <a:pt x="5151840" y="1022183"/>
                </a:cubicBezTo>
                <a:cubicBezTo>
                  <a:pt x="5130748" y="1014195"/>
                  <a:pt x="5110540" y="1004046"/>
                  <a:pt x="5091540" y="991893"/>
                </a:cubicBezTo>
                <a:close/>
                <a:moveTo>
                  <a:pt x="5492108" y="991284"/>
                </a:moveTo>
                <a:cubicBezTo>
                  <a:pt x="5477147" y="996762"/>
                  <a:pt x="5461550" y="1000324"/>
                  <a:pt x="5445695" y="1001885"/>
                </a:cubicBezTo>
                <a:cubicBezTo>
                  <a:pt x="5460038" y="1008784"/>
                  <a:pt x="5473468" y="1017440"/>
                  <a:pt x="5485677" y="1027655"/>
                </a:cubicBezTo>
                <a:cubicBezTo>
                  <a:pt x="5504448" y="1027154"/>
                  <a:pt x="5523066" y="1024146"/>
                  <a:pt x="5541037" y="1018708"/>
                </a:cubicBezTo>
                <a:cubicBezTo>
                  <a:pt x="5526025" y="1007421"/>
                  <a:pt x="5509569" y="998199"/>
                  <a:pt x="5492108" y="991284"/>
                </a:cubicBezTo>
                <a:close/>
                <a:moveTo>
                  <a:pt x="5220900" y="991284"/>
                </a:moveTo>
                <a:cubicBezTo>
                  <a:pt x="5203437" y="998171"/>
                  <a:pt x="5186973" y="1007363"/>
                  <a:pt x="5171947" y="1018615"/>
                </a:cubicBezTo>
                <a:cubicBezTo>
                  <a:pt x="5189925" y="1024060"/>
                  <a:pt x="5208552" y="1027068"/>
                  <a:pt x="5227330" y="1027562"/>
                </a:cubicBezTo>
                <a:cubicBezTo>
                  <a:pt x="5239539" y="1017377"/>
                  <a:pt x="5252980" y="1008766"/>
                  <a:pt x="5267336" y="1001932"/>
                </a:cubicBezTo>
                <a:cubicBezTo>
                  <a:pt x="5251475" y="1000324"/>
                  <a:pt x="5235876" y="996748"/>
                  <a:pt x="5220900" y="991284"/>
                </a:cubicBezTo>
                <a:close/>
                <a:moveTo>
                  <a:pt x="5160507" y="957199"/>
                </a:moveTo>
                <a:cubicBezTo>
                  <a:pt x="5139624" y="964648"/>
                  <a:pt x="5119622" y="974369"/>
                  <a:pt x="5100860" y="986183"/>
                </a:cubicBezTo>
                <a:cubicBezTo>
                  <a:pt x="5119649" y="997925"/>
                  <a:pt x="5139647" y="1007609"/>
                  <a:pt x="5160507" y="1015076"/>
                </a:cubicBezTo>
                <a:cubicBezTo>
                  <a:pt x="5175172" y="1003492"/>
                  <a:pt x="5191225" y="993789"/>
                  <a:pt x="5208295" y="986183"/>
                </a:cubicBezTo>
                <a:cubicBezTo>
                  <a:pt x="5191243" y="978506"/>
                  <a:pt x="5175195" y="968774"/>
                  <a:pt x="5160507" y="957199"/>
                </a:cubicBezTo>
                <a:close/>
                <a:moveTo>
                  <a:pt x="5552525" y="957198"/>
                </a:moveTo>
                <a:cubicBezTo>
                  <a:pt x="5537832" y="968778"/>
                  <a:pt x="5521776" y="978513"/>
                  <a:pt x="5504714" y="986183"/>
                </a:cubicBezTo>
                <a:cubicBezTo>
                  <a:pt x="5521793" y="993781"/>
                  <a:pt x="5537856" y="1003488"/>
                  <a:pt x="5552525" y="1015075"/>
                </a:cubicBezTo>
                <a:cubicBezTo>
                  <a:pt x="5573406" y="1007607"/>
                  <a:pt x="5593421" y="997905"/>
                  <a:pt x="5612219" y="986136"/>
                </a:cubicBezTo>
                <a:cubicBezTo>
                  <a:pt x="5593435" y="974347"/>
                  <a:pt x="5573418" y="964642"/>
                  <a:pt x="5552525" y="957198"/>
                </a:cubicBezTo>
                <a:close/>
                <a:moveTo>
                  <a:pt x="5227330" y="944522"/>
                </a:moveTo>
                <a:cubicBezTo>
                  <a:pt x="5208559" y="945030"/>
                  <a:pt x="5189941" y="948047"/>
                  <a:pt x="5171970" y="953492"/>
                </a:cubicBezTo>
                <a:cubicBezTo>
                  <a:pt x="5186979" y="964769"/>
                  <a:pt x="5203437" y="973978"/>
                  <a:pt x="5220899" y="980870"/>
                </a:cubicBezTo>
                <a:cubicBezTo>
                  <a:pt x="5235863" y="975424"/>
                  <a:pt x="5251446" y="971864"/>
                  <a:pt x="5267289" y="970268"/>
                </a:cubicBezTo>
                <a:cubicBezTo>
                  <a:pt x="5252950" y="963383"/>
                  <a:pt x="5239526" y="954734"/>
                  <a:pt x="5227330" y="944522"/>
                </a:cubicBezTo>
                <a:close/>
                <a:moveTo>
                  <a:pt x="5485724" y="944522"/>
                </a:moveTo>
                <a:cubicBezTo>
                  <a:pt x="5473515" y="954776"/>
                  <a:pt x="5460066" y="963458"/>
                  <a:pt x="5445695" y="970361"/>
                </a:cubicBezTo>
                <a:cubicBezTo>
                  <a:pt x="5461560" y="971913"/>
                  <a:pt x="5477166" y="975443"/>
                  <a:pt x="5492155" y="980870"/>
                </a:cubicBezTo>
                <a:cubicBezTo>
                  <a:pt x="5509622" y="973987"/>
                  <a:pt x="5526079" y="964779"/>
                  <a:pt x="5541084" y="953492"/>
                </a:cubicBezTo>
                <a:cubicBezTo>
                  <a:pt x="5523113" y="948047"/>
                  <a:pt x="5504494" y="945030"/>
                  <a:pt x="5485724" y="944522"/>
                </a:cubicBezTo>
                <a:close/>
                <a:moveTo>
                  <a:pt x="5105520" y="900931"/>
                </a:moveTo>
                <a:cubicBezTo>
                  <a:pt x="5078374" y="907578"/>
                  <a:pt x="5051866" y="916598"/>
                  <a:pt x="5026301" y="927889"/>
                </a:cubicBezTo>
                <a:cubicBezTo>
                  <a:pt x="5046463" y="947281"/>
                  <a:pt x="5068311" y="964842"/>
                  <a:pt x="5091587" y="980360"/>
                </a:cubicBezTo>
                <a:cubicBezTo>
                  <a:pt x="5110575" y="968188"/>
                  <a:pt x="5130785" y="958036"/>
                  <a:pt x="5151886" y="950070"/>
                </a:cubicBezTo>
                <a:cubicBezTo>
                  <a:pt x="5134759" y="935354"/>
                  <a:pt x="5119218" y="918883"/>
                  <a:pt x="5105520" y="900931"/>
                </a:cubicBezTo>
                <a:close/>
                <a:moveTo>
                  <a:pt x="5607418" y="900908"/>
                </a:moveTo>
                <a:cubicBezTo>
                  <a:pt x="5593739" y="918891"/>
                  <a:pt x="5578198" y="935378"/>
                  <a:pt x="5561052" y="950094"/>
                </a:cubicBezTo>
                <a:cubicBezTo>
                  <a:pt x="5582169" y="958060"/>
                  <a:pt x="5602393" y="968212"/>
                  <a:pt x="5621398" y="980383"/>
                </a:cubicBezTo>
                <a:cubicBezTo>
                  <a:pt x="5644640" y="964829"/>
                  <a:pt x="5666469" y="947263"/>
                  <a:pt x="5686638" y="927889"/>
                </a:cubicBezTo>
                <a:cubicBezTo>
                  <a:pt x="5661073" y="916591"/>
                  <a:pt x="5634565" y="907562"/>
                  <a:pt x="5607418" y="900908"/>
                </a:cubicBezTo>
                <a:close/>
                <a:moveTo>
                  <a:pt x="5194198" y="892424"/>
                </a:moveTo>
                <a:cubicBezTo>
                  <a:pt x="5204455" y="908114"/>
                  <a:pt x="5216757" y="922366"/>
                  <a:pt x="5230779" y="934806"/>
                </a:cubicBezTo>
                <a:cubicBezTo>
                  <a:pt x="5246761" y="934850"/>
                  <a:pt x="5262676" y="936901"/>
                  <a:pt x="5278147" y="940911"/>
                </a:cubicBezTo>
                <a:cubicBezTo>
                  <a:pt x="5266984" y="929506"/>
                  <a:pt x="5257294" y="916747"/>
                  <a:pt x="5249302" y="902932"/>
                </a:cubicBezTo>
                <a:cubicBezTo>
                  <a:pt x="5231483" y="896995"/>
                  <a:pt x="5212951" y="893461"/>
                  <a:pt x="5194198" y="892424"/>
                </a:cubicBezTo>
                <a:close/>
                <a:moveTo>
                  <a:pt x="5518833" y="892424"/>
                </a:moveTo>
                <a:cubicBezTo>
                  <a:pt x="5500072" y="893468"/>
                  <a:pt x="5481535" y="897002"/>
                  <a:pt x="5463706" y="902932"/>
                </a:cubicBezTo>
                <a:cubicBezTo>
                  <a:pt x="5455728" y="916756"/>
                  <a:pt x="5446038" y="929517"/>
                  <a:pt x="5434861" y="940911"/>
                </a:cubicBezTo>
                <a:cubicBezTo>
                  <a:pt x="5450355" y="936894"/>
                  <a:pt x="5466292" y="934843"/>
                  <a:pt x="5482299" y="934806"/>
                </a:cubicBezTo>
                <a:cubicBezTo>
                  <a:pt x="5496300" y="922360"/>
                  <a:pt x="5508586" y="908107"/>
                  <a:pt x="5518833" y="892424"/>
                </a:cubicBezTo>
                <a:close/>
                <a:moveTo>
                  <a:pt x="5182199" y="891844"/>
                </a:moveTo>
                <a:cubicBezTo>
                  <a:pt x="5159992" y="891736"/>
                  <a:pt x="5137838" y="894027"/>
                  <a:pt x="5116121" y="898670"/>
                </a:cubicBezTo>
                <a:cubicBezTo>
                  <a:pt x="5129765" y="916169"/>
                  <a:pt x="5145265" y="932136"/>
                  <a:pt x="5162348" y="946295"/>
                </a:cubicBezTo>
                <a:cubicBezTo>
                  <a:pt x="5180099" y="940440"/>
                  <a:pt x="5198505" y="936800"/>
                  <a:pt x="5217149" y="935461"/>
                </a:cubicBezTo>
                <a:cubicBezTo>
                  <a:pt x="5203752" y="922413"/>
                  <a:pt x="5192013" y="907762"/>
                  <a:pt x="5182199" y="891844"/>
                </a:cubicBezTo>
                <a:close/>
                <a:moveTo>
                  <a:pt x="5530786" y="891842"/>
                </a:moveTo>
                <a:cubicBezTo>
                  <a:pt x="5520898" y="907742"/>
                  <a:pt x="5509124" y="922386"/>
                  <a:pt x="5495720" y="935460"/>
                </a:cubicBezTo>
                <a:cubicBezTo>
                  <a:pt x="5514371" y="936799"/>
                  <a:pt x="5532785" y="940439"/>
                  <a:pt x="5550544" y="946294"/>
                </a:cubicBezTo>
                <a:cubicBezTo>
                  <a:pt x="5567642" y="932128"/>
                  <a:pt x="5583164" y="916160"/>
                  <a:pt x="5596841" y="898669"/>
                </a:cubicBezTo>
                <a:cubicBezTo>
                  <a:pt x="5575132" y="894026"/>
                  <a:pt x="5552986" y="891738"/>
                  <a:pt x="5530786" y="891842"/>
                </a:cubicBezTo>
                <a:close/>
                <a:moveTo>
                  <a:pt x="5235998" y="842563"/>
                </a:moveTo>
                <a:cubicBezTo>
                  <a:pt x="5240276" y="860865"/>
                  <a:pt x="5246984" y="878511"/>
                  <a:pt x="5255943" y="895033"/>
                </a:cubicBezTo>
                <a:cubicBezTo>
                  <a:pt x="5270924" y="900491"/>
                  <a:pt x="5285156" y="907818"/>
                  <a:pt x="5298301" y="916842"/>
                </a:cubicBezTo>
                <a:cubicBezTo>
                  <a:pt x="5291717" y="902307"/>
                  <a:pt x="5286982" y="887004"/>
                  <a:pt x="5284205" y="871291"/>
                </a:cubicBezTo>
                <a:cubicBezTo>
                  <a:pt x="5269487" y="859611"/>
                  <a:pt x="5253274" y="849950"/>
                  <a:pt x="5235998" y="842563"/>
                </a:cubicBezTo>
                <a:close/>
                <a:moveTo>
                  <a:pt x="5477011" y="842561"/>
                </a:moveTo>
                <a:cubicBezTo>
                  <a:pt x="5459732" y="849926"/>
                  <a:pt x="5443524" y="859591"/>
                  <a:pt x="5428827" y="871290"/>
                </a:cubicBezTo>
                <a:cubicBezTo>
                  <a:pt x="5426033" y="887005"/>
                  <a:pt x="5421282" y="902306"/>
                  <a:pt x="5414684" y="916841"/>
                </a:cubicBezTo>
                <a:cubicBezTo>
                  <a:pt x="5427834" y="907812"/>
                  <a:pt x="5442075" y="900484"/>
                  <a:pt x="5457066" y="895032"/>
                </a:cubicBezTo>
                <a:cubicBezTo>
                  <a:pt x="5466016" y="878506"/>
                  <a:pt x="5472724" y="860861"/>
                  <a:pt x="5477011" y="842561"/>
                </a:cubicBezTo>
                <a:close/>
                <a:moveTo>
                  <a:pt x="5160623" y="821781"/>
                </a:moveTo>
                <a:cubicBezTo>
                  <a:pt x="5167461" y="842881"/>
                  <a:pt x="5176553" y="863185"/>
                  <a:pt x="5187744" y="882337"/>
                </a:cubicBezTo>
                <a:cubicBezTo>
                  <a:pt x="5206442" y="882922"/>
                  <a:pt x="5224996" y="885811"/>
                  <a:pt x="5242988" y="890935"/>
                </a:cubicBezTo>
                <a:cubicBezTo>
                  <a:pt x="5234808" y="874089"/>
                  <a:pt x="5228758" y="856290"/>
                  <a:pt x="5224977" y="837951"/>
                </a:cubicBezTo>
                <a:cubicBezTo>
                  <a:pt x="5204164" y="830278"/>
                  <a:pt x="5182590" y="824859"/>
                  <a:pt x="5160623" y="821781"/>
                </a:cubicBezTo>
                <a:close/>
                <a:moveTo>
                  <a:pt x="5552432" y="821756"/>
                </a:moveTo>
                <a:cubicBezTo>
                  <a:pt x="5530449" y="824829"/>
                  <a:pt x="5508864" y="830274"/>
                  <a:pt x="5488055" y="837996"/>
                </a:cubicBezTo>
                <a:cubicBezTo>
                  <a:pt x="5484271" y="856321"/>
                  <a:pt x="5478220" y="874104"/>
                  <a:pt x="5470044" y="890933"/>
                </a:cubicBezTo>
                <a:cubicBezTo>
                  <a:pt x="5488027" y="885807"/>
                  <a:pt x="5506573" y="882918"/>
                  <a:pt x="5525264" y="882335"/>
                </a:cubicBezTo>
                <a:cubicBezTo>
                  <a:pt x="5536483" y="863183"/>
                  <a:pt x="5545593" y="842873"/>
                  <a:pt x="5552432" y="821756"/>
                </a:cubicBezTo>
                <a:close/>
                <a:moveTo>
                  <a:pt x="5066143" y="818450"/>
                </a:moveTo>
                <a:cubicBezTo>
                  <a:pt x="5078426" y="843583"/>
                  <a:pt x="5092929" y="867568"/>
                  <a:pt x="5109480" y="890120"/>
                </a:cubicBezTo>
                <a:cubicBezTo>
                  <a:pt x="5131464" y="885145"/>
                  <a:pt x="5153907" y="882475"/>
                  <a:pt x="5176444" y="882151"/>
                </a:cubicBezTo>
                <a:cubicBezTo>
                  <a:pt x="5165433" y="862514"/>
                  <a:pt x="5156500" y="841782"/>
                  <a:pt x="5149789" y="820291"/>
                </a:cubicBezTo>
                <a:cubicBezTo>
                  <a:pt x="5122015" y="817224"/>
                  <a:pt x="5094025" y="816607"/>
                  <a:pt x="5066143" y="818450"/>
                </a:cubicBezTo>
                <a:close/>
                <a:moveTo>
                  <a:pt x="5646935" y="818450"/>
                </a:moveTo>
                <a:cubicBezTo>
                  <a:pt x="5619031" y="816607"/>
                  <a:pt x="5591018" y="817215"/>
                  <a:pt x="5563219" y="820267"/>
                </a:cubicBezTo>
                <a:cubicBezTo>
                  <a:pt x="5556492" y="841759"/>
                  <a:pt x="5547559" y="862498"/>
                  <a:pt x="5536564" y="882151"/>
                </a:cubicBezTo>
                <a:cubicBezTo>
                  <a:pt x="5559086" y="882484"/>
                  <a:pt x="5581511" y="885155"/>
                  <a:pt x="5603481" y="890120"/>
                </a:cubicBezTo>
                <a:cubicBezTo>
                  <a:pt x="5620061" y="867566"/>
                  <a:pt x="5634602" y="843581"/>
                  <a:pt x="5646935" y="818450"/>
                </a:cubicBezTo>
                <a:close/>
                <a:moveTo>
                  <a:pt x="5292430" y="810013"/>
                </a:moveTo>
                <a:cubicBezTo>
                  <a:pt x="5291428" y="818427"/>
                  <a:pt x="5290890" y="826889"/>
                  <a:pt x="5290822" y="835363"/>
                </a:cubicBezTo>
                <a:cubicBezTo>
                  <a:pt x="5290824" y="845662"/>
                  <a:pt x="5291626" y="855944"/>
                  <a:pt x="5293222" y="866119"/>
                </a:cubicBezTo>
                <a:cubicBezTo>
                  <a:pt x="5305412" y="876380"/>
                  <a:pt x="5316277" y="888118"/>
                  <a:pt x="5325562" y="901068"/>
                </a:cubicBezTo>
                <a:cubicBezTo>
                  <a:pt x="5325189" y="896292"/>
                  <a:pt x="5324886" y="891469"/>
                  <a:pt x="5324886" y="886669"/>
                </a:cubicBezTo>
                <a:cubicBezTo>
                  <a:pt x="5324902" y="875550"/>
                  <a:pt x="5325900" y="864455"/>
                  <a:pt x="5327869" y="853514"/>
                </a:cubicBezTo>
                <a:cubicBezTo>
                  <a:pt x="5318059" y="837490"/>
                  <a:pt x="5306139" y="822858"/>
                  <a:pt x="5292430" y="810013"/>
                </a:cubicBezTo>
                <a:close/>
                <a:moveTo>
                  <a:pt x="5420601" y="810011"/>
                </a:moveTo>
                <a:cubicBezTo>
                  <a:pt x="5406876" y="822854"/>
                  <a:pt x="5394939" y="837486"/>
                  <a:pt x="5385116" y="853512"/>
                </a:cubicBezTo>
                <a:cubicBezTo>
                  <a:pt x="5387131" y="864451"/>
                  <a:pt x="5388178" y="875544"/>
                  <a:pt x="5388238" y="886667"/>
                </a:cubicBezTo>
                <a:cubicBezTo>
                  <a:pt x="5388238" y="891467"/>
                  <a:pt x="5387912" y="896406"/>
                  <a:pt x="5387539" y="901066"/>
                </a:cubicBezTo>
                <a:cubicBezTo>
                  <a:pt x="5396838" y="888121"/>
                  <a:pt x="5407710" y="876383"/>
                  <a:pt x="5419902" y="866117"/>
                </a:cubicBezTo>
                <a:cubicBezTo>
                  <a:pt x="5421478" y="855942"/>
                  <a:pt x="5422256" y="845657"/>
                  <a:pt x="5422232" y="835361"/>
                </a:cubicBezTo>
                <a:cubicBezTo>
                  <a:pt x="5422167" y="826887"/>
                  <a:pt x="5421622" y="818425"/>
                  <a:pt x="5420601" y="810011"/>
                </a:cubicBezTo>
                <a:close/>
                <a:moveTo>
                  <a:pt x="5356504" y="798711"/>
                </a:moveTo>
                <a:cubicBezTo>
                  <a:pt x="5348016" y="815461"/>
                  <a:pt x="5341812" y="833274"/>
                  <a:pt x="5338051" y="851671"/>
                </a:cubicBezTo>
                <a:cubicBezTo>
                  <a:pt x="5346022" y="865479"/>
                  <a:pt x="5352222" y="880234"/>
                  <a:pt x="5356504" y="895591"/>
                </a:cubicBezTo>
                <a:cubicBezTo>
                  <a:pt x="5360819" y="880258"/>
                  <a:pt x="5367024" y="865518"/>
                  <a:pt x="5374981" y="851718"/>
                </a:cubicBezTo>
                <a:cubicBezTo>
                  <a:pt x="5371216" y="833304"/>
                  <a:pt x="5365002" y="815475"/>
                  <a:pt x="5356504" y="798711"/>
                </a:cubicBezTo>
                <a:close/>
                <a:moveTo>
                  <a:pt x="5228635" y="764673"/>
                </a:moveTo>
                <a:cubicBezTo>
                  <a:pt x="5228542" y="768075"/>
                  <a:pt x="5228379" y="771640"/>
                  <a:pt x="5228379" y="775065"/>
                </a:cubicBezTo>
                <a:cubicBezTo>
                  <a:pt x="5228312" y="793791"/>
                  <a:pt x="5230013" y="812484"/>
                  <a:pt x="5233458" y="830891"/>
                </a:cubicBezTo>
                <a:cubicBezTo>
                  <a:pt x="5250808" y="837825"/>
                  <a:pt x="5267240" y="846863"/>
                  <a:pt x="5282388" y="857802"/>
                </a:cubicBezTo>
                <a:cubicBezTo>
                  <a:pt x="5281563" y="850367"/>
                  <a:pt x="5281127" y="842893"/>
                  <a:pt x="5281083" y="835411"/>
                </a:cubicBezTo>
                <a:cubicBezTo>
                  <a:pt x="5281129" y="824213"/>
                  <a:pt x="5281961" y="813034"/>
                  <a:pt x="5283576" y="801953"/>
                </a:cubicBezTo>
                <a:cubicBezTo>
                  <a:pt x="5266653" y="787591"/>
                  <a:pt x="5248234" y="775093"/>
                  <a:pt x="5228635" y="764673"/>
                </a:cubicBezTo>
                <a:close/>
                <a:moveTo>
                  <a:pt x="5484373" y="764672"/>
                </a:moveTo>
                <a:cubicBezTo>
                  <a:pt x="5464771" y="775080"/>
                  <a:pt x="5446337" y="787555"/>
                  <a:pt x="5429386" y="801882"/>
                </a:cubicBezTo>
                <a:cubicBezTo>
                  <a:pt x="5431052" y="812998"/>
                  <a:pt x="5431926" y="824217"/>
                  <a:pt x="5431996" y="835457"/>
                </a:cubicBezTo>
                <a:cubicBezTo>
                  <a:pt x="5431940" y="842945"/>
                  <a:pt x="5431506" y="850427"/>
                  <a:pt x="5430691" y="857871"/>
                </a:cubicBezTo>
                <a:cubicBezTo>
                  <a:pt x="5445829" y="846913"/>
                  <a:pt x="5462264" y="837866"/>
                  <a:pt x="5479620" y="830936"/>
                </a:cubicBezTo>
                <a:cubicBezTo>
                  <a:pt x="5483048" y="812497"/>
                  <a:pt x="5484723" y="793773"/>
                  <a:pt x="5484630" y="775017"/>
                </a:cubicBezTo>
                <a:cubicBezTo>
                  <a:pt x="5484630" y="771662"/>
                  <a:pt x="5484490" y="768144"/>
                  <a:pt x="5484373" y="764672"/>
                </a:cubicBezTo>
                <a:close/>
                <a:moveTo>
                  <a:pt x="5312118" y="734314"/>
                </a:moveTo>
                <a:cubicBezTo>
                  <a:pt x="5303780" y="754899"/>
                  <a:pt x="5297694" y="776328"/>
                  <a:pt x="5293968" y="798225"/>
                </a:cubicBezTo>
                <a:cubicBezTo>
                  <a:pt x="5307915" y="810642"/>
                  <a:pt x="5320278" y="824726"/>
                  <a:pt x="5330782" y="840165"/>
                </a:cubicBezTo>
                <a:cubicBezTo>
                  <a:pt x="5335358" y="822033"/>
                  <a:pt x="5342150" y="804537"/>
                  <a:pt x="5351006" y="788067"/>
                </a:cubicBezTo>
                <a:cubicBezTo>
                  <a:pt x="5340018" y="768800"/>
                  <a:pt x="5326979" y="750778"/>
                  <a:pt x="5312118" y="734314"/>
                </a:cubicBezTo>
                <a:close/>
                <a:moveTo>
                  <a:pt x="5400913" y="734313"/>
                </a:moveTo>
                <a:cubicBezTo>
                  <a:pt x="5386057" y="750777"/>
                  <a:pt x="5373025" y="768799"/>
                  <a:pt x="5362049" y="788066"/>
                </a:cubicBezTo>
                <a:cubicBezTo>
                  <a:pt x="5370894" y="804538"/>
                  <a:pt x="5377678" y="822034"/>
                  <a:pt x="5382250" y="840164"/>
                </a:cubicBezTo>
                <a:cubicBezTo>
                  <a:pt x="5392767" y="824695"/>
                  <a:pt x="5405139" y="810571"/>
                  <a:pt x="5419087" y="798108"/>
                </a:cubicBezTo>
                <a:cubicBezTo>
                  <a:pt x="5415331" y="776253"/>
                  <a:pt x="5409238" y="754866"/>
                  <a:pt x="5400913" y="734313"/>
                </a:cubicBezTo>
                <a:close/>
                <a:moveTo>
                  <a:pt x="5140982" y="729260"/>
                </a:moveTo>
                <a:cubicBezTo>
                  <a:pt x="5143985" y="757064"/>
                  <a:pt x="5149435" y="784546"/>
                  <a:pt x="5157268" y="811392"/>
                </a:cubicBezTo>
                <a:cubicBezTo>
                  <a:pt x="5179626" y="814276"/>
                  <a:pt x="5201622" y="819477"/>
                  <a:pt x="5222904" y="826909"/>
                </a:cubicBezTo>
                <a:cubicBezTo>
                  <a:pt x="5220055" y="809761"/>
                  <a:pt x="5218636" y="792405"/>
                  <a:pt x="5218663" y="775021"/>
                </a:cubicBezTo>
                <a:cubicBezTo>
                  <a:pt x="5218663" y="769941"/>
                  <a:pt x="5218850" y="764745"/>
                  <a:pt x="5219059" y="759550"/>
                </a:cubicBezTo>
                <a:cubicBezTo>
                  <a:pt x="5193978" y="747170"/>
                  <a:pt x="5167850" y="737035"/>
                  <a:pt x="5140982" y="729260"/>
                </a:cubicBezTo>
                <a:close/>
                <a:moveTo>
                  <a:pt x="5572073" y="729259"/>
                </a:moveTo>
                <a:cubicBezTo>
                  <a:pt x="5545192" y="737036"/>
                  <a:pt x="5519054" y="747188"/>
                  <a:pt x="5493972" y="759595"/>
                </a:cubicBezTo>
                <a:cubicBezTo>
                  <a:pt x="5494205" y="764791"/>
                  <a:pt x="5494368" y="769940"/>
                  <a:pt x="5494368" y="775020"/>
                </a:cubicBezTo>
                <a:cubicBezTo>
                  <a:pt x="5494392" y="792418"/>
                  <a:pt x="5492980" y="809788"/>
                  <a:pt x="5490151" y="826955"/>
                </a:cubicBezTo>
                <a:cubicBezTo>
                  <a:pt x="5511419" y="819504"/>
                  <a:pt x="5533409" y="814303"/>
                  <a:pt x="5555763" y="811437"/>
                </a:cubicBezTo>
                <a:cubicBezTo>
                  <a:pt x="5563615" y="784580"/>
                  <a:pt x="5569074" y="757079"/>
                  <a:pt x="5572073" y="729259"/>
                </a:cubicBezTo>
                <a:close/>
                <a:moveTo>
                  <a:pt x="5241846" y="671034"/>
                </a:moveTo>
                <a:cubicBezTo>
                  <a:pt x="5235121" y="698194"/>
                  <a:pt x="5230824" y="725898"/>
                  <a:pt x="5229008" y="753818"/>
                </a:cubicBezTo>
                <a:cubicBezTo>
                  <a:pt x="5249026" y="764203"/>
                  <a:pt x="5267914" y="776633"/>
                  <a:pt x="5285370" y="790911"/>
                </a:cubicBezTo>
                <a:cubicBezTo>
                  <a:pt x="5289562" y="768741"/>
                  <a:pt x="5296060" y="747073"/>
                  <a:pt x="5304755" y="726254"/>
                </a:cubicBezTo>
                <a:cubicBezTo>
                  <a:pt x="5285445" y="706040"/>
                  <a:pt x="5264393" y="687560"/>
                  <a:pt x="5241846" y="671034"/>
                </a:cubicBezTo>
                <a:close/>
                <a:moveTo>
                  <a:pt x="5471325" y="671008"/>
                </a:moveTo>
                <a:cubicBezTo>
                  <a:pt x="5448752" y="687558"/>
                  <a:pt x="5427663" y="706041"/>
                  <a:pt x="5408299" y="726252"/>
                </a:cubicBezTo>
                <a:cubicBezTo>
                  <a:pt x="5416992" y="747072"/>
                  <a:pt x="5423495" y="768741"/>
                  <a:pt x="5427708" y="790908"/>
                </a:cubicBezTo>
                <a:cubicBezTo>
                  <a:pt x="5445166" y="776623"/>
                  <a:pt x="5464062" y="764191"/>
                  <a:pt x="5484093" y="753815"/>
                </a:cubicBezTo>
                <a:cubicBezTo>
                  <a:pt x="5482287" y="725891"/>
                  <a:pt x="5478014" y="698180"/>
                  <a:pt x="5471325" y="671008"/>
                </a:cubicBezTo>
                <a:close/>
                <a:moveTo>
                  <a:pt x="5356504" y="650809"/>
                </a:moveTo>
                <a:cubicBezTo>
                  <a:pt x="5340926" y="674047"/>
                  <a:pt x="5327415" y="698606"/>
                  <a:pt x="5316126" y="724203"/>
                </a:cubicBezTo>
                <a:cubicBezTo>
                  <a:pt x="5331399" y="740809"/>
                  <a:pt x="5344908" y="758955"/>
                  <a:pt x="5356435" y="778352"/>
                </a:cubicBezTo>
                <a:cubicBezTo>
                  <a:pt x="5367977" y="758962"/>
                  <a:pt x="5381493" y="740814"/>
                  <a:pt x="5396766" y="724203"/>
                </a:cubicBezTo>
                <a:cubicBezTo>
                  <a:pt x="5385531" y="698601"/>
                  <a:pt x="5372057" y="674042"/>
                  <a:pt x="5356504" y="650809"/>
                </a:cubicBezTo>
                <a:close/>
                <a:moveTo>
                  <a:pt x="5631650" y="502902"/>
                </a:moveTo>
                <a:cubicBezTo>
                  <a:pt x="5657606" y="502902"/>
                  <a:pt x="5663920" y="524874"/>
                  <a:pt x="5663920" y="545890"/>
                </a:cubicBezTo>
                <a:cubicBezTo>
                  <a:pt x="5663920" y="554302"/>
                  <a:pt x="5662755" y="571124"/>
                  <a:pt x="5654344" y="582564"/>
                </a:cubicBezTo>
                <a:cubicBezTo>
                  <a:pt x="5646865" y="592863"/>
                  <a:pt x="5635169" y="594028"/>
                  <a:pt x="5629577" y="594028"/>
                </a:cubicBezTo>
                <a:cubicBezTo>
                  <a:pt x="5598821" y="594028"/>
                  <a:pt x="5596701" y="564740"/>
                  <a:pt x="5596701" y="550574"/>
                </a:cubicBezTo>
                <a:cubicBezTo>
                  <a:pt x="5596701" y="540042"/>
                  <a:pt x="5596701" y="502902"/>
                  <a:pt x="5631650" y="502902"/>
                </a:cubicBezTo>
                <a:close/>
                <a:moveTo>
                  <a:pt x="5502849" y="500457"/>
                </a:moveTo>
                <a:cubicBezTo>
                  <a:pt x="5533395" y="500340"/>
                  <a:pt x="5535725" y="534218"/>
                  <a:pt x="5535725" y="545891"/>
                </a:cubicBezTo>
                <a:cubicBezTo>
                  <a:pt x="5535725" y="565044"/>
                  <a:pt x="5528945" y="591442"/>
                  <a:pt x="5501847" y="591442"/>
                </a:cubicBezTo>
                <a:cubicBezTo>
                  <a:pt x="5469228" y="591442"/>
                  <a:pt x="5469228" y="554768"/>
                  <a:pt x="5469228" y="547056"/>
                </a:cubicBezTo>
                <a:cubicBezTo>
                  <a:pt x="5469228" y="539344"/>
                  <a:pt x="5469228" y="500457"/>
                  <a:pt x="5502849" y="500457"/>
                </a:cubicBezTo>
                <a:close/>
                <a:moveTo>
                  <a:pt x="5637731" y="486546"/>
                </a:moveTo>
                <a:cubicBezTo>
                  <a:pt x="5628155" y="486546"/>
                  <a:pt x="5608747" y="489342"/>
                  <a:pt x="5597796" y="507795"/>
                </a:cubicBezTo>
                <a:lnTo>
                  <a:pt x="5597143" y="488433"/>
                </a:lnTo>
                <a:lnTo>
                  <a:pt x="5574962" y="488433"/>
                </a:lnTo>
                <a:cubicBezTo>
                  <a:pt x="5575428" y="499640"/>
                  <a:pt x="5575661" y="502413"/>
                  <a:pt x="5575661" y="507562"/>
                </a:cubicBezTo>
                <a:lnTo>
                  <a:pt x="5575731" y="650763"/>
                </a:lnTo>
                <a:lnTo>
                  <a:pt x="5597470" y="650763"/>
                </a:lnTo>
                <a:lnTo>
                  <a:pt x="5597470" y="592700"/>
                </a:lnTo>
                <a:cubicBezTo>
                  <a:pt x="5603737" y="602975"/>
                  <a:pt x="5616366" y="610198"/>
                  <a:pt x="5633421" y="610198"/>
                </a:cubicBezTo>
                <a:cubicBezTo>
                  <a:pt x="5661381" y="610198"/>
                  <a:pt x="5687010" y="591045"/>
                  <a:pt x="5687010" y="547288"/>
                </a:cubicBezTo>
                <a:cubicBezTo>
                  <a:pt x="5687010" y="503532"/>
                  <a:pt x="5662965" y="486546"/>
                  <a:pt x="5637731" y="486546"/>
                </a:cubicBezTo>
                <a:close/>
                <a:moveTo>
                  <a:pt x="5447652" y="443582"/>
                </a:moveTo>
                <a:lnTo>
                  <a:pt x="5447652" y="584685"/>
                </a:lnTo>
                <a:lnTo>
                  <a:pt x="5447163" y="605655"/>
                </a:lnTo>
                <a:lnTo>
                  <a:pt x="5468412" y="605655"/>
                </a:lnTo>
                <a:lnTo>
                  <a:pt x="5468995" y="588040"/>
                </a:lnTo>
                <a:cubicBezTo>
                  <a:pt x="5471884" y="592811"/>
                  <a:pt x="5475801" y="596879"/>
                  <a:pt x="5480458" y="599947"/>
                </a:cubicBezTo>
                <a:cubicBezTo>
                  <a:pt x="5488226" y="605003"/>
                  <a:pt x="5497334" y="607608"/>
                  <a:pt x="5506601" y="607426"/>
                </a:cubicBezTo>
                <a:cubicBezTo>
                  <a:pt x="5522724" y="607426"/>
                  <a:pt x="5538381" y="600646"/>
                  <a:pt x="5547748" y="587341"/>
                </a:cubicBezTo>
                <a:cubicBezTo>
                  <a:pt x="5553596" y="579629"/>
                  <a:pt x="5558955" y="567234"/>
                  <a:pt x="5558955" y="544563"/>
                </a:cubicBezTo>
                <a:cubicBezTo>
                  <a:pt x="5558955" y="518933"/>
                  <a:pt x="5551010" y="507283"/>
                  <a:pt x="5545162" y="500433"/>
                </a:cubicBezTo>
                <a:cubicBezTo>
                  <a:pt x="5534420" y="488271"/>
                  <a:pt x="5519695" y="485475"/>
                  <a:pt x="5508022" y="485475"/>
                </a:cubicBezTo>
                <a:cubicBezTo>
                  <a:pt x="5481390" y="485475"/>
                  <a:pt x="5472723" y="500200"/>
                  <a:pt x="5469717" y="505559"/>
                </a:cubicBezTo>
                <a:lnTo>
                  <a:pt x="5469624" y="443582"/>
                </a:lnTo>
                <a:close/>
                <a:moveTo>
                  <a:pt x="0" y="0"/>
                </a:moveTo>
                <a:lnTo>
                  <a:pt x="6096000" y="0"/>
                </a:lnTo>
                <a:lnTo>
                  <a:pt x="6096000" y="6857994"/>
                </a:lnTo>
                <a:lnTo>
                  <a:pt x="0" y="6857994"/>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13" name="Text Placeholder 9">
            <a:extLst>
              <a:ext uri="{FF2B5EF4-FFF2-40B4-BE49-F238E27FC236}">
                <a16:creationId xmlns:a16="http://schemas.microsoft.com/office/drawing/2014/main" id="{95A2DCC2-0C3D-4EEC-A95E-0975C4B3F856}"/>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4" name="Text Placeholder 9">
            <a:extLst>
              <a:ext uri="{FF2B5EF4-FFF2-40B4-BE49-F238E27FC236}">
                <a16:creationId xmlns:a16="http://schemas.microsoft.com/office/drawing/2014/main" id="{B54A363B-B341-49AA-9572-04B8BDF537CA}"/>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836D7CF6-36CF-455D-A000-BFA34E33207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7988" y="6174856"/>
            <a:ext cx="944562" cy="450814"/>
          </a:xfrm>
          <a:prstGeom prst="rect">
            <a:avLst/>
          </a:prstGeom>
        </p:spPr>
      </p:pic>
      <p:sp>
        <p:nvSpPr>
          <p:cNvPr id="9" name="Text Placeholder 9">
            <a:extLst>
              <a:ext uri="{FF2B5EF4-FFF2-40B4-BE49-F238E27FC236}">
                <a16:creationId xmlns:a16="http://schemas.microsoft.com/office/drawing/2014/main" id="{5CF9CCC8-188C-4913-9BD0-72AFC56127FF}"/>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bg1"/>
                </a:solidFill>
              </a:defRPr>
            </a:lvl1pPr>
            <a:lvl2pPr marL="0" indent="0">
              <a:lnSpc>
                <a:spcPct val="90000"/>
              </a:lnSpc>
              <a:spcBef>
                <a:spcPts val="500"/>
              </a:spcBef>
              <a:buNone/>
              <a:defRPr sz="4800">
                <a:solidFill>
                  <a:schemeClr val="accent2"/>
                </a:solidFill>
                <a:latin typeface="+mn-lt"/>
              </a:defRPr>
            </a:lvl2pPr>
            <a:lvl3pPr marL="0" indent="0">
              <a:lnSpc>
                <a:spcPct val="90000"/>
              </a:lnSpc>
              <a:buNone/>
              <a:defRPr sz="4800">
                <a:solidFill>
                  <a:schemeClr val="bg1"/>
                </a:solidFill>
              </a:defRPr>
            </a:lvl3pPr>
            <a:lvl4pPr marL="0" indent="0">
              <a:lnSpc>
                <a:spcPct val="90000"/>
              </a:lnSpc>
              <a:buFont typeface="Arial" panose="020B0604020202020204" pitchFamily="34" charset="0"/>
              <a:buNone/>
              <a:defRPr sz="4800">
                <a:solidFill>
                  <a:schemeClr val="bg1"/>
                </a:solidFill>
              </a:defRPr>
            </a:lvl4pPr>
            <a:lvl5pPr marL="0" indent="0">
              <a:lnSpc>
                <a:spcPct val="90000"/>
              </a:lnSpc>
              <a:buFont typeface="Arial" panose="020B0604020202020204" pitchFamily="34" charset="0"/>
              <a:buNone/>
              <a:defRPr sz="4800">
                <a:solidFill>
                  <a:schemeClr val="bg1"/>
                </a:solidFill>
              </a:defRPr>
            </a:lvl5pPr>
            <a:lvl6pPr>
              <a:defRPr sz="4800">
                <a:solidFill>
                  <a:schemeClr val="bg1"/>
                </a:solidFill>
              </a:defRPr>
            </a:lvl6pPr>
            <a:lvl7pPr>
              <a:defRPr sz="4800">
                <a:solidFill>
                  <a:schemeClr val="bg1"/>
                </a:solidFill>
              </a:defRPr>
            </a:lvl7pPr>
            <a:lvl8pPr>
              <a:defRPr sz="4800">
                <a:solidFill>
                  <a:schemeClr val="bg1"/>
                </a:solidFill>
              </a:defRPr>
            </a:lvl8pPr>
            <a:lvl9pPr>
              <a:defRPr sz="48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277441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ight Green Title Light Image">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261982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814AF314-B99F-4041-B99F-109CCC08BD6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25572" y="443583"/>
            <a:ext cx="658441" cy="877146"/>
          </a:xfrm>
          <a:prstGeom prst="rect">
            <a:avLst/>
          </a:prstGeom>
        </p:spPr>
      </p:pic>
      <p:sp>
        <p:nvSpPr>
          <p:cNvPr id="8" name="Picture Placeholder 7">
            <a:extLst>
              <a:ext uri="{FF2B5EF4-FFF2-40B4-BE49-F238E27FC236}">
                <a16:creationId xmlns:a16="http://schemas.microsoft.com/office/drawing/2014/main" id="{A1872A8C-5640-4BD2-8D1A-021171083617}"/>
              </a:ext>
            </a:extLst>
          </p:cNvPr>
          <p:cNvSpPr>
            <a:spLocks noGrp="1"/>
          </p:cNvSpPr>
          <p:nvPr>
            <p:ph type="pic" sz="quarter" idx="14" hasCustomPrompt="1"/>
          </p:nvPr>
        </p:nvSpPr>
        <p:spPr>
          <a:xfrm>
            <a:off x="6096000" y="0"/>
            <a:ext cx="6096000" cy="6858000"/>
          </a:xfrm>
          <a:custGeom>
            <a:avLst/>
            <a:gdLst>
              <a:gd name="connsiteX0" fmla="*/ 5358881 w 6096000"/>
              <a:gd name="connsiteY0" fmla="*/ 647700 h 6858000"/>
              <a:gd name="connsiteX1" fmla="*/ 5313581 w 6096000"/>
              <a:gd name="connsiteY1" fmla="*/ 729366 h 6858000"/>
              <a:gd name="connsiteX2" fmla="*/ 5243152 w 6096000"/>
              <a:gd name="connsiteY2" fmla="*/ 668105 h 6858000"/>
              <a:gd name="connsiteX3" fmla="*/ 5228554 w 6096000"/>
              <a:gd name="connsiteY3" fmla="*/ 760326 h 6858000"/>
              <a:gd name="connsiteX4" fmla="*/ 5141410 w 6096000"/>
              <a:gd name="connsiteY4" fmla="*/ 726827 h 6858000"/>
              <a:gd name="connsiteX5" fmla="*/ 5159229 w 6096000"/>
              <a:gd name="connsiteY5" fmla="*/ 818508 h 6858000"/>
              <a:gd name="connsiteX6" fmla="*/ 5065857 w 6096000"/>
              <a:gd name="connsiteY6" fmla="*/ 816862 h 6858000"/>
              <a:gd name="connsiteX7" fmla="*/ 5113906 w 6096000"/>
              <a:gd name="connsiteY7" fmla="*/ 896882 h 6858000"/>
              <a:gd name="connsiteX8" fmla="*/ 5025658 w 6096000"/>
              <a:gd name="connsiteY8" fmla="*/ 927278 h 6858000"/>
              <a:gd name="connsiteX9" fmla="*/ 5098226 w 6096000"/>
              <a:gd name="connsiteY9" fmla="*/ 986024 h 6858000"/>
              <a:gd name="connsiteX10" fmla="*/ 5025658 w 6096000"/>
              <a:gd name="connsiteY10" fmla="*/ 1044770 h 6858000"/>
              <a:gd name="connsiteX11" fmla="*/ 5113906 w 6096000"/>
              <a:gd name="connsiteY11" fmla="*/ 1075142 h 6858000"/>
              <a:gd name="connsiteX12" fmla="*/ 5065857 w 6096000"/>
              <a:gd name="connsiteY12" fmla="*/ 1155232 h 6858000"/>
              <a:gd name="connsiteX13" fmla="*/ 5159229 w 6096000"/>
              <a:gd name="connsiteY13" fmla="*/ 1153563 h 6858000"/>
              <a:gd name="connsiteX14" fmla="*/ 5141410 w 6096000"/>
              <a:gd name="connsiteY14" fmla="*/ 1245221 h 6858000"/>
              <a:gd name="connsiteX15" fmla="*/ 5228554 w 6096000"/>
              <a:gd name="connsiteY15" fmla="*/ 1211792 h 6858000"/>
              <a:gd name="connsiteX16" fmla="*/ 5243152 w 6096000"/>
              <a:gd name="connsiteY16" fmla="*/ 1303990 h 6858000"/>
              <a:gd name="connsiteX17" fmla="*/ 5313581 w 6096000"/>
              <a:gd name="connsiteY17" fmla="*/ 1242752 h 6858000"/>
              <a:gd name="connsiteX18" fmla="*/ 5358881 w 6096000"/>
              <a:gd name="connsiteY18" fmla="*/ 1324394 h 6858000"/>
              <a:gd name="connsiteX19" fmla="*/ 5404180 w 6096000"/>
              <a:gd name="connsiteY19" fmla="*/ 1242752 h 6858000"/>
              <a:gd name="connsiteX20" fmla="*/ 5474609 w 6096000"/>
              <a:gd name="connsiteY20" fmla="*/ 1303990 h 6858000"/>
              <a:gd name="connsiteX21" fmla="*/ 5489184 w 6096000"/>
              <a:gd name="connsiteY21" fmla="*/ 1211792 h 6858000"/>
              <a:gd name="connsiteX22" fmla="*/ 5576351 w 6096000"/>
              <a:gd name="connsiteY22" fmla="*/ 1245221 h 6858000"/>
              <a:gd name="connsiteX23" fmla="*/ 5558509 w 6096000"/>
              <a:gd name="connsiteY23" fmla="*/ 1153563 h 6858000"/>
              <a:gd name="connsiteX24" fmla="*/ 5651881 w 6096000"/>
              <a:gd name="connsiteY24" fmla="*/ 1155232 h 6858000"/>
              <a:gd name="connsiteX25" fmla="*/ 5603785 w 6096000"/>
              <a:gd name="connsiteY25" fmla="*/ 1075142 h 6858000"/>
              <a:gd name="connsiteX26" fmla="*/ 5692056 w 6096000"/>
              <a:gd name="connsiteY26" fmla="*/ 1044770 h 6858000"/>
              <a:gd name="connsiteX27" fmla="*/ 5619464 w 6096000"/>
              <a:gd name="connsiteY27" fmla="*/ 986024 h 6858000"/>
              <a:gd name="connsiteX28" fmla="*/ 5692056 w 6096000"/>
              <a:gd name="connsiteY28" fmla="*/ 927278 h 6858000"/>
              <a:gd name="connsiteX29" fmla="*/ 5603785 w 6096000"/>
              <a:gd name="connsiteY29" fmla="*/ 896882 h 6858000"/>
              <a:gd name="connsiteX30" fmla="*/ 5651881 w 6096000"/>
              <a:gd name="connsiteY30" fmla="*/ 816815 h 6858000"/>
              <a:gd name="connsiteX31" fmla="*/ 5558509 w 6096000"/>
              <a:gd name="connsiteY31" fmla="*/ 818508 h 6858000"/>
              <a:gd name="connsiteX32" fmla="*/ 5576351 w 6096000"/>
              <a:gd name="connsiteY32" fmla="*/ 726827 h 6858000"/>
              <a:gd name="connsiteX33" fmla="*/ 5489184 w 6096000"/>
              <a:gd name="connsiteY33" fmla="*/ 760278 h 6858000"/>
              <a:gd name="connsiteX34" fmla="*/ 5474609 w 6096000"/>
              <a:gd name="connsiteY34" fmla="*/ 668105 h 6858000"/>
              <a:gd name="connsiteX35" fmla="*/ 5404180 w 6096000"/>
              <a:gd name="connsiteY35" fmla="*/ 729366 h 6858000"/>
              <a:gd name="connsiteX36" fmla="*/ 5358881 w 6096000"/>
              <a:gd name="connsiteY36" fmla="*/ 647700 h 6858000"/>
              <a:gd name="connsiteX37" fmla="*/ 5633981 w 6096000"/>
              <a:gd name="connsiteY37" fmla="*/ 502880 h 6858000"/>
              <a:gd name="connsiteX38" fmla="*/ 5633981 w 6096000"/>
              <a:gd name="connsiteY38" fmla="*/ 502903 h 6858000"/>
              <a:gd name="connsiteX39" fmla="*/ 5666227 w 6096000"/>
              <a:gd name="connsiteY39" fmla="*/ 545891 h 6858000"/>
              <a:gd name="connsiteX40" fmla="*/ 5656651 w 6096000"/>
              <a:gd name="connsiteY40" fmla="*/ 582565 h 6858000"/>
              <a:gd name="connsiteX41" fmla="*/ 5631907 w 6096000"/>
              <a:gd name="connsiteY41" fmla="*/ 594005 h 6858000"/>
              <a:gd name="connsiteX42" fmla="*/ 5598938 w 6096000"/>
              <a:gd name="connsiteY42" fmla="*/ 550551 h 6858000"/>
              <a:gd name="connsiteX43" fmla="*/ 5633981 w 6096000"/>
              <a:gd name="connsiteY43" fmla="*/ 502880 h 6858000"/>
              <a:gd name="connsiteX44" fmla="*/ 5505016 w 6096000"/>
              <a:gd name="connsiteY44" fmla="*/ 500318 h 6858000"/>
              <a:gd name="connsiteX45" fmla="*/ 5537985 w 6096000"/>
              <a:gd name="connsiteY45" fmla="*/ 545869 h 6858000"/>
              <a:gd name="connsiteX46" fmla="*/ 5504107 w 6096000"/>
              <a:gd name="connsiteY46" fmla="*/ 591420 h 6858000"/>
              <a:gd name="connsiteX47" fmla="*/ 5471395 w 6096000"/>
              <a:gd name="connsiteY47" fmla="*/ 547034 h 6858000"/>
              <a:gd name="connsiteX48" fmla="*/ 5505016 w 6096000"/>
              <a:gd name="connsiteY48" fmla="*/ 500318 h 6858000"/>
              <a:gd name="connsiteX49" fmla="*/ 5639875 w 6096000"/>
              <a:gd name="connsiteY49" fmla="*/ 486547 h 6858000"/>
              <a:gd name="connsiteX50" fmla="*/ 5599916 w 6096000"/>
              <a:gd name="connsiteY50" fmla="*/ 507796 h 6858000"/>
              <a:gd name="connsiteX51" fmla="*/ 5599450 w 6096000"/>
              <a:gd name="connsiteY51" fmla="*/ 488411 h 6858000"/>
              <a:gd name="connsiteX52" fmla="*/ 5577269 w 6096000"/>
              <a:gd name="connsiteY52" fmla="*/ 488411 h 6858000"/>
              <a:gd name="connsiteX53" fmla="*/ 5577968 w 6096000"/>
              <a:gd name="connsiteY53" fmla="*/ 507563 h 6858000"/>
              <a:gd name="connsiteX54" fmla="*/ 5577968 w 6096000"/>
              <a:gd name="connsiteY54" fmla="*/ 650764 h 6858000"/>
              <a:gd name="connsiteX55" fmla="*/ 5599660 w 6096000"/>
              <a:gd name="connsiteY55" fmla="*/ 650764 h 6858000"/>
              <a:gd name="connsiteX56" fmla="*/ 5599660 w 6096000"/>
              <a:gd name="connsiteY56" fmla="*/ 592607 h 6858000"/>
              <a:gd name="connsiteX57" fmla="*/ 5635635 w 6096000"/>
              <a:gd name="connsiteY57" fmla="*/ 610129 h 6858000"/>
              <a:gd name="connsiteX58" fmla="*/ 5689108 w 6096000"/>
              <a:gd name="connsiteY58" fmla="*/ 547289 h 6858000"/>
              <a:gd name="connsiteX59" fmla="*/ 5639875 w 6096000"/>
              <a:gd name="connsiteY59" fmla="*/ 486547 h 6858000"/>
              <a:gd name="connsiteX60" fmla="*/ 5449912 w 6096000"/>
              <a:gd name="connsiteY60" fmla="*/ 443583 h 6858000"/>
              <a:gd name="connsiteX61" fmla="*/ 5449912 w 6096000"/>
              <a:gd name="connsiteY61" fmla="*/ 584663 h 6858000"/>
              <a:gd name="connsiteX62" fmla="*/ 5449423 w 6096000"/>
              <a:gd name="connsiteY62" fmla="*/ 605679 h 6858000"/>
              <a:gd name="connsiteX63" fmla="*/ 5470649 w 6096000"/>
              <a:gd name="connsiteY63" fmla="*/ 605679 h 6858000"/>
              <a:gd name="connsiteX64" fmla="*/ 5471138 w 6096000"/>
              <a:gd name="connsiteY64" fmla="*/ 587925 h 6858000"/>
              <a:gd name="connsiteX65" fmla="*/ 5482602 w 6096000"/>
              <a:gd name="connsiteY65" fmla="*/ 599831 h 6858000"/>
              <a:gd name="connsiteX66" fmla="*/ 5508744 w 6096000"/>
              <a:gd name="connsiteY66" fmla="*/ 607310 h 6858000"/>
              <a:gd name="connsiteX67" fmla="*/ 5549891 w 6096000"/>
              <a:gd name="connsiteY67" fmla="*/ 587226 h 6858000"/>
              <a:gd name="connsiteX68" fmla="*/ 5561075 w 6096000"/>
              <a:gd name="connsiteY68" fmla="*/ 544471 h 6858000"/>
              <a:gd name="connsiteX69" fmla="*/ 5547305 w 6096000"/>
              <a:gd name="connsiteY69" fmla="*/ 500318 h 6858000"/>
              <a:gd name="connsiteX70" fmla="*/ 5510142 w 6096000"/>
              <a:gd name="connsiteY70" fmla="*/ 485359 h 6858000"/>
              <a:gd name="connsiteX71" fmla="*/ 5471837 w 6096000"/>
              <a:gd name="connsiteY71" fmla="*/ 505444 h 6858000"/>
              <a:gd name="connsiteX72" fmla="*/ 5471837 w 6096000"/>
              <a:gd name="connsiteY72" fmla="*/ 443583 h 6858000"/>
              <a:gd name="connsiteX73" fmla="*/ 0 w 6096000"/>
              <a:gd name="connsiteY73" fmla="*/ 0 h 6858000"/>
              <a:gd name="connsiteX74" fmla="*/ 6096000 w 6096000"/>
              <a:gd name="connsiteY74" fmla="*/ 0 h 6858000"/>
              <a:gd name="connsiteX75" fmla="*/ 6096000 w 6096000"/>
              <a:gd name="connsiteY75" fmla="*/ 6858000 h 6858000"/>
              <a:gd name="connsiteX76" fmla="*/ 0 w 6096000"/>
              <a:gd name="connsiteY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0" h="6858000">
                <a:moveTo>
                  <a:pt x="5358881" y="647700"/>
                </a:moveTo>
                <a:cubicBezTo>
                  <a:pt x="5350747" y="659854"/>
                  <a:pt x="5330248" y="689944"/>
                  <a:pt x="5313581" y="729366"/>
                </a:cubicBezTo>
                <a:cubicBezTo>
                  <a:pt x="5284479" y="697983"/>
                  <a:pt x="5254929" y="676755"/>
                  <a:pt x="5243152" y="668105"/>
                </a:cubicBezTo>
                <a:cubicBezTo>
                  <a:pt x="5239673" y="682280"/>
                  <a:pt x="5230716" y="717565"/>
                  <a:pt x="5228554" y="760326"/>
                </a:cubicBezTo>
                <a:cubicBezTo>
                  <a:pt x="5190471" y="740838"/>
                  <a:pt x="5155420" y="730965"/>
                  <a:pt x="5141410" y="726827"/>
                </a:cubicBezTo>
                <a:cubicBezTo>
                  <a:pt x="5142985" y="741378"/>
                  <a:pt x="5146605" y="777604"/>
                  <a:pt x="5159229" y="818508"/>
                </a:cubicBezTo>
                <a:cubicBezTo>
                  <a:pt x="5116750" y="813171"/>
                  <a:pt x="5080478" y="815898"/>
                  <a:pt x="5065857" y="816862"/>
                </a:cubicBezTo>
                <a:cubicBezTo>
                  <a:pt x="5072321" y="829956"/>
                  <a:pt x="5088142" y="862749"/>
                  <a:pt x="5113906" y="896882"/>
                </a:cubicBezTo>
                <a:cubicBezTo>
                  <a:pt x="5072227" y="906403"/>
                  <a:pt x="5039058" y="921378"/>
                  <a:pt x="5025658" y="927278"/>
                </a:cubicBezTo>
                <a:cubicBezTo>
                  <a:pt x="5036237" y="937362"/>
                  <a:pt x="5062306" y="962774"/>
                  <a:pt x="5098226" y="986024"/>
                </a:cubicBezTo>
                <a:cubicBezTo>
                  <a:pt x="5062306" y="1009226"/>
                  <a:pt x="5036237" y="1034709"/>
                  <a:pt x="5025658" y="1044770"/>
                </a:cubicBezTo>
                <a:cubicBezTo>
                  <a:pt x="5039058" y="1050670"/>
                  <a:pt x="5072227" y="1065621"/>
                  <a:pt x="5113906" y="1075142"/>
                </a:cubicBezTo>
                <a:cubicBezTo>
                  <a:pt x="5088142" y="1109275"/>
                  <a:pt x="5072321" y="1142068"/>
                  <a:pt x="5065857" y="1155232"/>
                </a:cubicBezTo>
                <a:cubicBezTo>
                  <a:pt x="5080478" y="1156126"/>
                  <a:pt x="5116750" y="1158852"/>
                  <a:pt x="5159229" y="1153563"/>
                </a:cubicBezTo>
                <a:cubicBezTo>
                  <a:pt x="5146629" y="1194443"/>
                  <a:pt x="5142985" y="1230692"/>
                  <a:pt x="5141410" y="1245221"/>
                </a:cubicBezTo>
                <a:cubicBezTo>
                  <a:pt x="5155420" y="1241106"/>
                  <a:pt x="5190471" y="1231257"/>
                  <a:pt x="5228554" y="1211792"/>
                </a:cubicBezTo>
                <a:cubicBezTo>
                  <a:pt x="5230716" y="1254483"/>
                  <a:pt x="5239673" y="1289768"/>
                  <a:pt x="5243152" y="1303990"/>
                </a:cubicBezTo>
                <a:cubicBezTo>
                  <a:pt x="5254929" y="1295315"/>
                  <a:pt x="5284479" y="1274088"/>
                  <a:pt x="5313581" y="1242752"/>
                </a:cubicBezTo>
                <a:cubicBezTo>
                  <a:pt x="5330248" y="1282151"/>
                  <a:pt x="5350747" y="1312241"/>
                  <a:pt x="5358881" y="1324394"/>
                </a:cubicBezTo>
                <a:cubicBezTo>
                  <a:pt x="5366991" y="1312217"/>
                  <a:pt x="5387489" y="1282151"/>
                  <a:pt x="5404180" y="1242752"/>
                </a:cubicBezTo>
                <a:cubicBezTo>
                  <a:pt x="5433236" y="1274111"/>
                  <a:pt x="5462832" y="1295339"/>
                  <a:pt x="5474609" y="1303990"/>
                </a:cubicBezTo>
                <a:cubicBezTo>
                  <a:pt x="5478065" y="1289768"/>
                  <a:pt x="5487046" y="1254506"/>
                  <a:pt x="5489184" y="1211792"/>
                </a:cubicBezTo>
                <a:cubicBezTo>
                  <a:pt x="5527267" y="1231280"/>
                  <a:pt x="5562294" y="1241130"/>
                  <a:pt x="5576351" y="1245221"/>
                </a:cubicBezTo>
                <a:cubicBezTo>
                  <a:pt x="5574776" y="1230692"/>
                  <a:pt x="5571109" y="1194467"/>
                  <a:pt x="5558509" y="1153563"/>
                </a:cubicBezTo>
                <a:cubicBezTo>
                  <a:pt x="5600964" y="1158877"/>
                  <a:pt x="5637283" y="1156149"/>
                  <a:pt x="5651881" y="1155232"/>
                </a:cubicBezTo>
                <a:cubicBezTo>
                  <a:pt x="5645393" y="1142068"/>
                  <a:pt x="5629644" y="1109299"/>
                  <a:pt x="5603785" y="1075142"/>
                </a:cubicBezTo>
                <a:cubicBezTo>
                  <a:pt x="5645511" y="1065621"/>
                  <a:pt x="5678727" y="1050670"/>
                  <a:pt x="5692056" y="1044770"/>
                </a:cubicBezTo>
                <a:cubicBezTo>
                  <a:pt x="5681502" y="1034685"/>
                  <a:pt x="5655431" y="1009202"/>
                  <a:pt x="5619464" y="986024"/>
                </a:cubicBezTo>
                <a:cubicBezTo>
                  <a:pt x="5655431" y="962774"/>
                  <a:pt x="5681502" y="937362"/>
                  <a:pt x="5692056" y="927278"/>
                </a:cubicBezTo>
                <a:cubicBezTo>
                  <a:pt x="5678727" y="921378"/>
                  <a:pt x="5645534" y="906427"/>
                  <a:pt x="5603785" y="896882"/>
                </a:cubicBezTo>
                <a:cubicBezTo>
                  <a:pt x="5629644" y="862726"/>
                  <a:pt x="5645393" y="829956"/>
                  <a:pt x="5651881" y="816815"/>
                </a:cubicBezTo>
                <a:cubicBezTo>
                  <a:pt x="5637283" y="815922"/>
                  <a:pt x="5600964" y="813195"/>
                  <a:pt x="5558509" y="818508"/>
                </a:cubicBezTo>
                <a:cubicBezTo>
                  <a:pt x="5571109" y="777604"/>
                  <a:pt x="5574776" y="741378"/>
                  <a:pt x="5576351" y="726827"/>
                </a:cubicBezTo>
                <a:cubicBezTo>
                  <a:pt x="5562294" y="730918"/>
                  <a:pt x="5527267" y="740791"/>
                  <a:pt x="5489184" y="760278"/>
                </a:cubicBezTo>
                <a:cubicBezTo>
                  <a:pt x="5487046" y="717565"/>
                  <a:pt x="5478065" y="682280"/>
                  <a:pt x="5474609" y="668105"/>
                </a:cubicBezTo>
                <a:cubicBezTo>
                  <a:pt x="5462832" y="676755"/>
                  <a:pt x="5433236" y="697983"/>
                  <a:pt x="5404180" y="729366"/>
                </a:cubicBezTo>
                <a:cubicBezTo>
                  <a:pt x="5387489" y="689944"/>
                  <a:pt x="5366991" y="659877"/>
                  <a:pt x="5358881" y="647700"/>
                </a:cubicBezTo>
                <a:close/>
                <a:moveTo>
                  <a:pt x="5633981" y="502880"/>
                </a:moveTo>
                <a:lnTo>
                  <a:pt x="5633981" y="502903"/>
                </a:lnTo>
                <a:cubicBezTo>
                  <a:pt x="5659913" y="502903"/>
                  <a:pt x="5666227" y="524875"/>
                  <a:pt x="5666227" y="545891"/>
                </a:cubicBezTo>
                <a:cubicBezTo>
                  <a:pt x="5666227" y="554303"/>
                  <a:pt x="5665062" y="571125"/>
                  <a:pt x="5656651" y="582565"/>
                </a:cubicBezTo>
                <a:cubicBezTo>
                  <a:pt x="5649172" y="592840"/>
                  <a:pt x="5637499" y="594005"/>
                  <a:pt x="5631907" y="594005"/>
                </a:cubicBezTo>
                <a:cubicBezTo>
                  <a:pt x="5601058" y="594005"/>
                  <a:pt x="5598938" y="564811"/>
                  <a:pt x="5598938" y="550551"/>
                </a:cubicBezTo>
                <a:cubicBezTo>
                  <a:pt x="5598938" y="540043"/>
                  <a:pt x="5598938" y="502880"/>
                  <a:pt x="5633981" y="502880"/>
                </a:cubicBezTo>
                <a:close/>
                <a:moveTo>
                  <a:pt x="5505016" y="500318"/>
                </a:moveTo>
                <a:cubicBezTo>
                  <a:pt x="5535655" y="500318"/>
                  <a:pt x="5537985" y="534196"/>
                  <a:pt x="5537985" y="545869"/>
                </a:cubicBezTo>
                <a:cubicBezTo>
                  <a:pt x="5537985" y="565021"/>
                  <a:pt x="5531205" y="591420"/>
                  <a:pt x="5504107" y="591420"/>
                </a:cubicBezTo>
                <a:cubicBezTo>
                  <a:pt x="5471395" y="591420"/>
                  <a:pt x="5471395" y="554746"/>
                  <a:pt x="5471395" y="547034"/>
                </a:cubicBezTo>
                <a:cubicBezTo>
                  <a:pt x="5471395" y="539322"/>
                  <a:pt x="5471395" y="500318"/>
                  <a:pt x="5505016" y="500318"/>
                </a:cubicBezTo>
                <a:close/>
                <a:moveTo>
                  <a:pt x="5639875" y="486547"/>
                </a:moveTo>
                <a:cubicBezTo>
                  <a:pt x="5630299" y="486547"/>
                  <a:pt x="5610890" y="489343"/>
                  <a:pt x="5599916" y="507796"/>
                </a:cubicBezTo>
                <a:lnTo>
                  <a:pt x="5599450" y="488411"/>
                </a:lnTo>
                <a:lnTo>
                  <a:pt x="5577269" y="488411"/>
                </a:lnTo>
                <a:cubicBezTo>
                  <a:pt x="5577735" y="499618"/>
                  <a:pt x="5577968" y="502414"/>
                  <a:pt x="5577968" y="507563"/>
                </a:cubicBezTo>
                <a:lnTo>
                  <a:pt x="5577968" y="650764"/>
                </a:lnTo>
                <a:lnTo>
                  <a:pt x="5599660" y="650764"/>
                </a:lnTo>
                <a:lnTo>
                  <a:pt x="5599660" y="592607"/>
                </a:lnTo>
                <a:cubicBezTo>
                  <a:pt x="5605951" y="602883"/>
                  <a:pt x="5618579" y="610129"/>
                  <a:pt x="5635635" y="610129"/>
                </a:cubicBezTo>
                <a:cubicBezTo>
                  <a:pt x="5663688" y="610129"/>
                  <a:pt x="5689108" y="590976"/>
                  <a:pt x="5689108" y="547289"/>
                </a:cubicBezTo>
                <a:cubicBezTo>
                  <a:pt x="5689108" y="503602"/>
                  <a:pt x="5665086" y="486547"/>
                  <a:pt x="5639875" y="486547"/>
                </a:cubicBezTo>
                <a:close/>
                <a:moveTo>
                  <a:pt x="5449912" y="443583"/>
                </a:moveTo>
                <a:lnTo>
                  <a:pt x="5449912" y="584663"/>
                </a:lnTo>
                <a:lnTo>
                  <a:pt x="5449423" y="605679"/>
                </a:lnTo>
                <a:lnTo>
                  <a:pt x="5470649" y="605679"/>
                </a:lnTo>
                <a:lnTo>
                  <a:pt x="5471138" y="587925"/>
                </a:lnTo>
                <a:cubicBezTo>
                  <a:pt x="5473492" y="591420"/>
                  <a:pt x="5476055" y="595404"/>
                  <a:pt x="5482602" y="599831"/>
                </a:cubicBezTo>
                <a:cubicBezTo>
                  <a:pt x="5492667" y="606611"/>
                  <a:pt x="5503152" y="607310"/>
                  <a:pt x="5508744" y="607310"/>
                </a:cubicBezTo>
                <a:cubicBezTo>
                  <a:pt x="5524867" y="607310"/>
                  <a:pt x="5540525" y="600530"/>
                  <a:pt x="5549891" y="587226"/>
                </a:cubicBezTo>
                <a:cubicBezTo>
                  <a:pt x="5555716" y="579514"/>
                  <a:pt x="5561075" y="567141"/>
                  <a:pt x="5561075" y="544471"/>
                </a:cubicBezTo>
                <a:cubicBezTo>
                  <a:pt x="5561075" y="518771"/>
                  <a:pt x="5553130" y="507098"/>
                  <a:pt x="5547305" y="500318"/>
                </a:cubicBezTo>
                <a:cubicBezTo>
                  <a:pt x="5536564" y="488179"/>
                  <a:pt x="5521815" y="485359"/>
                  <a:pt x="5510142" y="485359"/>
                </a:cubicBezTo>
                <a:cubicBezTo>
                  <a:pt x="5483510" y="485359"/>
                  <a:pt x="5474866" y="500085"/>
                  <a:pt x="5471837" y="505444"/>
                </a:cubicBezTo>
                <a:lnTo>
                  <a:pt x="5471837" y="443583"/>
                </a:ln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16" name="Text Placeholder 9">
            <a:extLst>
              <a:ext uri="{FF2B5EF4-FFF2-40B4-BE49-F238E27FC236}">
                <a16:creationId xmlns:a16="http://schemas.microsoft.com/office/drawing/2014/main" id="{C83B2054-CB24-48C5-96E9-5A0DF8A6E1B8}"/>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7" name="Text Placeholder 9">
            <a:extLst>
              <a:ext uri="{FF2B5EF4-FFF2-40B4-BE49-F238E27FC236}">
                <a16:creationId xmlns:a16="http://schemas.microsoft.com/office/drawing/2014/main" id="{CF1CEB01-1D01-4837-90F4-204152B493C8}"/>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9" name="Graphic 8">
            <a:extLst>
              <a:ext uri="{FF2B5EF4-FFF2-40B4-BE49-F238E27FC236}">
                <a16:creationId xmlns:a16="http://schemas.microsoft.com/office/drawing/2014/main" id="{8DC74FAC-D001-4D3B-BBD5-1498C61AF6E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7988" y="6174856"/>
            <a:ext cx="944562" cy="450814"/>
          </a:xfrm>
          <a:prstGeom prst="rect">
            <a:avLst/>
          </a:prstGeom>
        </p:spPr>
      </p:pic>
      <p:sp>
        <p:nvSpPr>
          <p:cNvPr id="10" name="Text Placeholder 9">
            <a:extLst>
              <a:ext uri="{FF2B5EF4-FFF2-40B4-BE49-F238E27FC236}">
                <a16:creationId xmlns:a16="http://schemas.microsoft.com/office/drawing/2014/main" id="{AE115912-5A76-4383-8362-5615E574D203}"/>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accent5"/>
                </a:solidFill>
              </a:defRPr>
            </a:lvl1pPr>
            <a:lvl2pPr marL="0" indent="0">
              <a:lnSpc>
                <a:spcPct val="90000"/>
              </a:lnSpc>
              <a:spcBef>
                <a:spcPts val="500"/>
              </a:spcBef>
              <a:buNone/>
              <a:defRPr sz="4800">
                <a:solidFill>
                  <a:schemeClr val="tx1"/>
                </a:solidFill>
                <a:latin typeface="+mn-lt"/>
              </a:defRPr>
            </a:lvl2pPr>
            <a:lvl3pPr marL="0" indent="0">
              <a:lnSpc>
                <a:spcPct val="90000"/>
              </a:lnSpc>
              <a:buNone/>
              <a:defRPr sz="4800">
                <a:solidFill>
                  <a:schemeClr val="accent5"/>
                </a:solidFill>
              </a:defRPr>
            </a:lvl3pPr>
            <a:lvl4pPr marL="0" indent="0">
              <a:lnSpc>
                <a:spcPct val="90000"/>
              </a:lnSpc>
              <a:buFont typeface="Arial" panose="020B0604020202020204" pitchFamily="34" charset="0"/>
              <a:buNone/>
              <a:defRPr sz="4800">
                <a:solidFill>
                  <a:schemeClr val="accent5"/>
                </a:solidFill>
              </a:defRPr>
            </a:lvl4pPr>
            <a:lvl5pPr marL="0" indent="0">
              <a:lnSpc>
                <a:spcPct val="90000"/>
              </a:lnSpc>
              <a:buFont typeface="Arial" panose="020B0604020202020204" pitchFamily="34" charset="0"/>
              <a:buNone/>
              <a:defRPr sz="4800">
                <a:solidFill>
                  <a:schemeClr val="accent5"/>
                </a:solidFill>
              </a:defRPr>
            </a:lvl5pPr>
            <a:lvl6pPr>
              <a:defRPr sz="4800">
                <a:solidFill>
                  <a:schemeClr val="accent5"/>
                </a:solidFill>
              </a:defRPr>
            </a:lvl6pPr>
            <a:lvl7pPr>
              <a:defRPr sz="4800">
                <a:solidFill>
                  <a:schemeClr val="accent5"/>
                </a:solidFill>
              </a:defRPr>
            </a:lvl7pPr>
            <a:lvl8pPr>
              <a:defRPr sz="4800">
                <a:solidFill>
                  <a:schemeClr val="accent5"/>
                </a:solidFill>
              </a:defRPr>
            </a:lvl8pPr>
            <a:lvl9pPr>
              <a:defRPr sz="48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12547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50"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75E38-A722-4C26-A541-FD5E1C64066C}"/>
              </a:ext>
            </a:extLst>
          </p:cNvPr>
          <p:cNvGraphicFramePr>
            <a:graphicFrameLocks noChangeAspect="1"/>
          </p:cNvGraphicFramePr>
          <p:nvPr userDrawn="1">
            <p:custDataLst>
              <p:tags r:id="rId46"/>
            </p:custDataLst>
            <p:extLst>
              <p:ext uri="{D42A27DB-BD31-4B8C-83A1-F6EECF244321}">
                <p14:modId xmlns:p14="http://schemas.microsoft.com/office/powerpoint/2010/main" val="3988003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44" imgH="344" progId="TCLayout.ActiveDocument.1">
                  <p:embed/>
                </p:oleObj>
              </mc:Choice>
              <mc:Fallback>
                <p:oleObj name="think-cell Slide" r:id="rId47" imgW="344" imgH="344" progId="TCLayout.ActiveDocument.1">
                  <p:embed/>
                  <p:pic>
                    <p:nvPicPr>
                      <p:cNvPr id="8" name="Object 7" hidden="1">
                        <a:extLst>
                          <a:ext uri="{FF2B5EF4-FFF2-40B4-BE49-F238E27FC236}">
                            <a16:creationId xmlns:a16="http://schemas.microsoft.com/office/drawing/2014/main" id="{5B175E38-A722-4C26-A541-FD5E1C64066C}"/>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CDB3879-0BC5-4CF3-A170-6961F442DEA8}"/>
              </a:ext>
            </a:extLst>
          </p:cNvPr>
          <p:cNvSpPr>
            <a:spLocks noGrp="1"/>
          </p:cNvSpPr>
          <p:nvPr userDrawn="1">
            <p:ph type="title"/>
          </p:nvPr>
        </p:nvSpPr>
        <p:spPr>
          <a:xfrm>
            <a:off x="407987" y="441325"/>
            <a:ext cx="11376025" cy="504000"/>
          </a:xfrm>
          <a:prstGeom prst="rect">
            <a:avLst/>
          </a:prstGeom>
        </p:spPr>
        <p:txBody>
          <a:bodyPr vert="horz" lIns="0" tIns="0" rIns="0" bIns="0" rtlCol="0" anchor="t">
            <a:normAutofit/>
          </a:bodyPr>
          <a:lstStyle/>
          <a:p>
            <a:r>
              <a:rPr lang="en-US"/>
              <a:t>Slide title goes here</a:t>
            </a:r>
            <a:endParaRPr lang="en-GB"/>
          </a:p>
        </p:txBody>
      </p:sp>
      <p:sp>
        <p:nvSpPr>
          <p:cNvPr id="3" name="Text Placeholder 2">
            <a:extLst>
              <a:ext uri="{FF2B5EF4-FFF2-40B4-BE49-F238E27FC236}">
                <a16:creationId xmlns:a16="http://schemas.microsoft.com/office/drawing/2014/main" id="{57F51DB8-0C02-4A5D-88A7-638F5FF314E4}"/>
              </a:ext>
            </a:extLst>
          </p:cNvPr>
          <p:cNvSpPr>
            <a:spLocks noGrp="1"/>
          </p:cNvSpPr>
          <p:nvPr userDrawn="1">
            <p:ph type="body" idx="1"/>
          </p:nvPr>
        </p:nvSpPr>
        <p:spPr>
          <a:xfrm>
            <a:off x="407988" y="1557339"/>
            <a:ext cx="11376024" cy="4475162"/>
          </a:xfrm>
          <a:prstGeom prst="rect">
            <a:avLst/>
          </a:prstGeom>
        </p:spPr>
        <p:txBody>
          <a:bodyPr vert="horz" lIns="0" tIns="0" rIns="0" bIns="0" rtlCol="0">
            <a:normAutofit/>
          </a:bodyPr>
          <a:lstStyle/>
          <a:p>
            <a:pPr lvl="0"/>
            <a:r>
              <a:rPr lang="en-US"/>
              <a:t>Body copy goes her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90D5105-FE95-4C96-B0E5-DF01ACF70BFE}"/>
              </a:ext>
            </a:extLst>
          </p:cNvPr>
          <p:cNvSpPr>
            <a:spLocks noGrp="1"/>
          </p:cNvSpPr>
          <p:nvPr userDrawn="1">
            <p:ph type="ftr" sz="quarter" idx="3"/>
          </p:nvPr>
        </p:nvSpPr>
        <p:spPr>
          <a:xfrm>
            <a:off x="754144" y="6217805"/>
            <a:ext cx="6985262" cy="365125"/>
          </a:xfrm>
          <a:prstGeom prst="rect">
            <a:avLst/>
          </a:prstGeom>
        </p:spPr>
        <p:txBody>
          <a:bodyPr vert="horz" lIns="91440" tIns="45720" rIns="91440" bIns="45720" rtlCol="0" anchor="ctr"/>
          <a:lstStyle>
            <a:lvl1pPr algn="l">
              <a:defRPr sz="1100">
                <a:solidFill>
                  <a:srgbClr val="898989"/>
                </a:solidFill>
              </a:defRPr>
            </a:lvl1p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8034C41F-FA79-4D57-A29C-05792CE1BD30}"/>
              </a:ext>
            </a:extLst>
          </p:cNvPr>
          <p:cNvSpPr>
            <a:spLocks noGrp="1"/>
          </p:cNvSpPr>
          <p:nvPr userDrawn="1">
            <p:ph type="sldNum" sz="quarter" idx="4"/>
          </p:nvPr>
        </p:nvSpPr>
        <p:spPr>
          <a:xfrm>
            <a:off x="407988" y="6217805"/>
            <a:ext cx="346156" cy="365125"/>
          </a:xfrm>
          <a:prstGeom prst="rect">
            <a:avLst/>
          </a:prstGeom>
        </p:spPr>
        <p:txBody>
          <a:bodyPr vert="horz" lIns="0" tIns="0" rIns="0" bIns="0" rtlCol="0" anchor="ctr"/>
          <a:lstStyle>
            <a:lvl1pPr algn="l">
              <a:defRPr sz="1000">
                <a:solidFill>
                  <a:srgbClr val="898989"/>
                </a:solidFill>
                <a:latin typeface="+mj-lt"/>
              </a:defRPr>
            </a:lvl1pPr>
          </a:lstStyle>
          <a:p>
            <a:fld id="{558C4CC7-2A35-421E-B553-155EEFD58513}" type="slidenum">
              <a:rPr lang="en-GB" smtClean="0"/>
              <a:pPr/>
              <a:t>‹#›</a:t>
            </a:fld>
            <a:endParaRPr lang="en-GB"/>
          </a:p>
        </p:txBody>
      </p:sp>
      <p:pic>
        <p:nvPicPr>
          <p:cNvPr id="9" name="Graphic 8">
            <a:extLst>
              <a:ext uri="{FF2B5EF4-FFF2-40B4-BE49-F238E27FC236}">
                <a16:creationId xmlns:a16="http://schemas.microsoft.com/office/drawing/2014/main" id="{9DA63E86-DB3F-4433-BDD8-EE76D4F12A70}"/>
              </a:ext>
            </a:extLst>
          </p:cNvPr>
          <p:cNvPicPr>
            <a:picLocks noChangeAspect="1"/>
          </p:cNvPicPr>
          <p:nvPr userDrawn="1"/>
        </p:nvPicPr>
        <p:blipFill>
          <a:blip r:embed="rId49">
            <a:extLst>
              <a:ext uri="{96DAC541-7B7A-43D3-8B79-37D633B846F1}">
                <asvg:svgBlip xmlns:asvg="http://schemas.microsoft.com/office/drawing/2016/SVG/main" r:embed="rId50"/>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948536025"/>
      </p:ext>
    </p:extLst>
  </p:cSld>
  <p:clrMap bg1="lt1" tx1="dk1" bg2="lt2" tx2="dk2" accent1="accent1" accent2="accent2" accent3="accent3" accent4="accent4" accent5="accent5" accent6="accent6" hlink="hlink" folHlink="folHlink"/>
  <p:sldLayoutIdLst>
    <p:sldLayoutId id="2147483654" r:id="rId1"/>
    <p:sldLayoutId id="2147483686" r:id="rId2"/>
    <p:sldLayoutId id="2147483655" r:id="rId3"/>
    <p:sldLayoutId id="2147483687" r:id="rId4"/>
    <p:sldLayoutId id="2147483688" r:id="rId5"/>
    <p:sldLayoutId id="2147483689" r:id="rId6"/>
    <p:sldLayoutId id="2147483690" r:id="rId7"/>
    <p:sldLayoutId id="2147483691" r:id="rId8"/>
    <p:sldLayoutId id="2147483692" r:id="rId9"/>
    <p:sldLayoutId id="2147483693" r:id="rId10"/>
    <p:sldLayoutId id="2147483650" r:id="rId11"/>
    <p:sldLayoutId id="2147483685" r:id="rId12"/>
    <p:sldLayoutId id="2147483694" r:id="rId13"/>
    <p:sldLayoutId id="2147483720" r:id="rId14"/>
    <p:sldLayoutId id="2147483716" r:id="rId15"/>
    <p:sldLayoutId id="2147483727" r:id="rId16"/>
    <p:sldLayoutId id="2147483730" r:id="rId17"/>
    <p:sldLayoutId id="2147483704" r:id="rId18"/>
    <p:sldLayoutId id="2147483733" r:id="rId19"/>
    <p:sldLayoutId id="2147483696" r:id="rId20"/>
    <p:sldLayoutId id="2147483695" r:id="rId21"/>
    <p:sldLayoutId id="2147483705" r:id="rId22"/>
    <p:sldLayoutId id="2147483734" r:id="rId23"/>
    <p:sldLayoutId id="2147483697" r:id="rId24"/>
    <p:sldLayoutId id="2147483698" r:id="rId25"/>
    <p:sldLayoutId id="2147483700" r:id="rId26"/>
    <p:sldLayoutId id="2147483699" r:id="rId27"/>
    <p:sldLayoutId id="2147483701" r:id="rId28"/>
    <p:sldLayoutId id="2147483702" r:id="rId29"/>
    <p:sldLayoutId id="2147483703" r:id="rId30"/>
    <p:sldLayoutId id="2147483717" r:id="rId31"/>
    <p:sldLayoutId id="2147483718" r:id="rId32"/>
    <p:sldLayoutId id="2147483723" r:id="rId33"/>
    <p:sldLayoutId id="2147483724" r:id="rId34"/>
    <p:sldLayoutId id="2147483710" r:id="rId35"/>
    <p:sldLayoutId id="2147483725" r:id="rId36"/>
    <p:sldLayoutId id="2147483731" r:id="rId37"/>
    <p:sldLayoutId id="2147483706" r:id="rId38"/>
    <p:sldLayoutId id="2147483726" r:id="rId39"/>
    <p:sldLayoutId id="2147483732" r:id="rId40"/>
    <p:sldLayoutId id="2147483719" r:id="rId41"/>
    <p:sldLayoutId id="2147483721" r:id="rId42"/>
    <p:sldLayoutId id="2147483722" r:id="rId43"/>
    <p:sldLayoutId id="2147483735"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kern="1200">
          <a:solidFill>
            <a:schemeClr val="accent1"/>
          </a:solidFill>
          <a:latin typeface="+mn-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mn-lt"/>
          <a:ea typeface="+mn-ea"/>
          <a:cs typeface="+mn-cs"/>
        </a:defRPr>
      </a:lvl1pPr>
      <a:lvl2pPr marL="230400" indent="-230400" algn="l" defTabSz="914400" rtl="0" eaLnBrk="1" latinLnBrk="0" hangingPunct="1">
        <a:lnSpc>
          <a:spcPct val="100000"/>
        </a:lnSpc>
        <a:spcBef>
          <a:spcPts val="500"/>
        </a:spcBef>
        <a:buFont typeface="Arial" panose="020B0604020202020204" pitchFamily="34" charset="0"/>
        <a:buChar char="•"/>
        <a:defRPr sz="1800" kern="1200">
          <a:solidFill>
            <a:schemeClr val="tx2"/>
          </a:solidFill>
          <a:latin typeface="+mn-lt"/>
          <a:ea typeface="+mn-ea"/>
          <a:cs typeface="+mn-cs"/>
        </a:defRPr>
      </a:lvl2pPr>
      <a:lvl3pPr marL="446400" indent="-230400" algn="l" defTabSz="914400" rtl="0" eaLnBrk="1" latinLnBrk="0" hangingPunct="1">
        <a:lnSpc>
          <a:spcPct val="100000"/>
        </a:lnSpc>
        <a:spcBef>
          <a:spcPts val="500"/>
        </a:spcBef>
        <a:buFont typeface="Arial" panose="020B0604020202020204" pitchFamily="34" charset="0"/>
        <a:buChar char="•"/>
        <a:defRPr sz="1400" kern="1200">
          <a:solidFill>
            <a:schemeClr val="tx2"/>
          </a:solidFill>
          <a:latin typeface="+mn-lt"/>
          <a:ea typeface="+mn-ea"/>
          <a:cs typeface="+mn-cs"/>
        </a:defRPr>
      </a:lvl3pPr>
      <a:lvl4pPr marL="0" indent="0" algn="l" defTabSz="914400" rtl="0" eaLnBrk="1" latinLnBrk="0" hangingPunct="1">
        <a:lnSpc>
          <a:spcPct val="100000"/>
        </a:lnSpc>
        <a:spcBef>
          <a:spcPts val="500"/>
        </a:spcBef>
        <a:buFont typeface="Arial" panose="020B0604020202020204" pitchFamily="34" charset="0"/>
        <a:buNone/>
        <a:defRPr sz="14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7pPr>
      <a:lvl8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257" userDrawn="1">
          <p15:clr>
            <a:srgbClr val="F26B43"/>
          </p15:clr>
        </p15:guide>
        <p15:guide id="3" pos="7423" userDrawn="1">
          <p15:clr>
            <a:srgbClr val="F26B43"/>
          </p15:clr>
        </p15:guide>
        <p15:guide id="4" orient="horz" pos="981" userDrawn="1">
          <p15:clr>
            <a:srgbClr val="F26B43"/>
          </p15:clr>
        </p15:guide>
        <p15:guide id="5" orient="horz" pos="3800" userDrawn="1">
          <p15:clr>
            <a:srgbClr val="F26B43"/>
          </p15:clr>
        </p15:guide>
        <p15:guide id="6" pos="1958" userDrawn="1">
          <p15:clr>
            <a:srgbClr val="F26B43"/>
          </p15:clr>
        </p15:guide>
        <p15:guide id="7" pos="2048" userDrawn="1">
          <p15:clr>
            <a:srgbClr val="F26B43"/>
          </p15:clr>
        </p15:guide>
        <p15:guide id="8" pos="3840" userDrawn="1">
          <p15:clr>
            <a:srgbClr val="F26B43"/>
          </p15:clr>
        </p15:guide>
        <p15:guide id="9" pos="3749" userDrawn="1">
          <p15:clr>
            <a:srgbClr val="F26B43"/>
          </p15:clr>
        </p15:guide>
        <p15:guide id="10" pos="3931" userDrawn="1">
          <p15:clr>
            <a:srgbClr val="F26B43"/>
          </p15:clr>
        </p15:guide>
        <p15:guide id="11" pos="5632" userDrawn="1">
          <p15:clr>
            <a:srgbClr val="F26B43"/>
          </p15:clr>
        </p15:guide>
        <p15:guide id="12" pos="5722" userDrawn="1">
          <p15:clr>
            <a:srgbClr val="F26B43"/>
          </p15:clr>
        </p15:guide>
        <p15:guide id="13" orient="horz" pos="2160" userDrawn="1">
          <p15:clr>
            <a:srgbClr val="F26B43"/>
          </p15:clr>
        </p15:guide>
        <p15:guide id="14"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EC9EC5-B8C1-6C52-D44D-0C45136DE4E9}"/>
              </a:ext>
            </a:extLst>
          </p:cNvPr>
          <p:cNvSpPr>
            <a:spLocks noGrp="1"/>
          </p:cNvSpPr>
          <p:nvPr>
            <p:ph type="sldNum" sz="quarter" idx="12"/>
          </p:nvPr>
        </p:nvSpPr>
        <p:spPr/>
        <p:txBody>
          <a:bodyPr/>
          <a:lstStyle/>
          <a:p>
            <a:fld id="{558C4CC7-2A35-421E-B553-155EEFD58513}" type="slidenum">
              <a:rPr lang="en-GB" smtClean="0"/>
              <a:t>1</a:t>
            </a:fld>
            <a:endParaRPr lang="en-GB"/>
          </a:p>
        </p:txBody>
      </p:sp>
      <p:sp>
        <p:nvSpPr>
          <p:cNvPr id="6" name="Title 5">
            <a:extLst>
              <a:ext uri="{FF2B5EF4-FFF2-40B4-BE49-F238E27FC236}">
                <a16:creationId xmlns:a16="http://schemas.microsoft.com/office/drawing/2014/main" id="{5AF02829-116C-BEE0-A0EE-9EE27F27662E}"/>
              </a:ext>
            </a:extLst>
          </p:cNvPr>
          <p:cNvSpPr>
            <a:spLocks noGrp="1"/>
          </p:cNvSpPr>
          <p:nvPr>
            <p:ph type="title"/>
          </p:nvPr>
        </p:nvSpPr>
        <p:spPr>
          <a:xfrm>
            <a:off x="407988" y="458258"/>
            <a:ext cx="11376025" cy="504000"/>
          </a:xfrm>
        </p:spPr>
        <p:txBody>
          <a:bodyPr/>
          <a:lstStyle/>
          <a:p>
            <a:r>
              <a:rPr lang="en-US" dirty="0"/>
              <a:t>DSWG REVIEW</a:t>
            </a:r>
          </a:p>
        </p:txBody>
      </p:sp>
      <p:sp>
        <p:nvSpPr>
          <p:cNvPr id="2" name="TextBox 1">
            <a:extLst>
              <a:ext uri="{FF2B5EF4-FFF2-40B4-BE49-F238E27FC236}">
                <a16:creationId xmlns:a16="http://schemas.microsoft.com/office/drawing/2014/main" id="{6AEED4EF-C0C1-F25D-4ECC-D97B29677504}"/>
              </a:ext>
            </a:extLst>
          </p:cNvPr>
          <p:cNvSpPr txBox="1"/>
          <p:nvPr/>
        </p:nvSpPr>
        <p:spPr>
          <a:xfrm>
            <a:off x="407988" y="1024467"/>
            <a:ext cx="11376024" cy="1938992"/>
          </a:xfrm>
          <a:prstGeom prst="rect">
            <a:avLst/>
          </a:prstGeom>
          <a:noFill/>
        </p:spPr>
        <p:txBody>
          <a:bodyPr wrap="square" lIns="0" tIns="0" rIns="0" bIns="0" rtlCol="0">
            <a:spAutoFit/>
          </a:bodyPr>
          <a:lstStyle/>
          <a:p>
            <a:pPr algn="l"/>
            <a:r>
              <a:rPr lang="en-US" dirty="0">
                <a:solidFill>
                  <a:schemeClr val="tx2"/>
                </a:solidFill>
              </a:rPr>
              <a:t>DSWG meeting occurred on June 21</a:t>
            </a:r>
          </a:p>
          <a:p>
            <a:pPr algn="l"/>
            <a:r>
              <a:rPr lang="en-US" dirty="0">
                <a:solidFill>
                  <a:schemeClr val="tx2"/>
                </a:solidFill>
              </a:rPr>
              <a:t>The group would like WMS to endorse NPRR 1226 – Demand Response Monitor</a:t>
            </a:r>
          </a:p>
          <a:p>
            <a:pPr algn="l"/>
            <a:endParaRPr lang="en-US" dirty="0">
              <a:solidFill>
                <a:schemeClr val="tx2"/>
              </a:solidFill>
            </a:endParaRPr>
          </a:p>
          <a:p>
            <a:pPr algn="l"/>
            <a:r>
              <a:rPr lang="en-US" dirty="0">
                <a:solidFill>
                  <a:schemeClr val="tx2"/>
                </a:solidFill>
              </a:rPr>
              <a:t>We covered one major topic </a:t>
            </a:r>
          </a:p>
          <a:p>
            <a:pPr algn="l"/>
            <a:endParaRPr lang="en-US" dirty="0">
              <a:solidFill>
                <a:schemeClr val="tx2"/>
              </a:solidFill>
            </a:endParaRPr>
          </a:p>
          <a:p>
            <a:pPr algn="l"/>
            <a:r>
              <a:rPr lang="en-US" dirty="0">
                <a:solidFill>
                  <a:schemeClr val="tx2"/>
                </a:solidFill>
              </a:rPr>
              <a:t>ERCOT reviewed the June 4CP explanation</a:t>
            </a:r>
          </a:p>
          <a:p>
            <a:pPr algn="l"/>
            <a:r>
              <a:rPr lang="en-US" dirty="0">
                <a:solidFill>
                  <a:schemeClr val="tx2"/>
                </a:solidFill>
              </a:rPr>
              <a:t>Highlights are Net DC Tie information and WSL Load</a:t>
            </a:r>
          </a:p>
        </p:txBody>
      </p:sp>
      <p:pic>
        <p:nvPicPr>
          <p:cNvPr id="7" name="Picture 6">
            <a:extLst>
              <a:ext uri="{FF2B5EF4-FFF2-40B4-BE49-F238E27FC236}">
                <a16:creationId xmlns:a16="http://schemas.microsoft.com/office/drawing/2014/main" id="{0B74AD4E-A74E-A396-F69A-8D42F8AA07F8}"/>
              </a:ext>
            </a:extLst>
          </p:cNvPr>
          <p:cNvPicPr>
            <a:picLocks noChangeAspect="1"/>
          </p:cNvPicPr>
          <p:nvPr/>
        </p:nvPicPr>
        <p:blipFill>
          <a:blip r:embed="rId2"/>
          <a:stretch>
            <a:fillRect/>
          </a:stretch>
        </p:blipFill>
        <p:spPr>
          <a:xfrm>
            <a:off x="275565" y="3089451"/>
            <a:ext cx="7445385" cy="2880610"/>
          </a:xfrm>
          <a:prstGeom prst="rect">
            <a:avLst/>
          </a:prstGeom>
        </p:spPr>
      </p:pic>
      <p:sp>
        <p:nvSpPr>
          <p:cNvPr id="11" name="TextBox 10">
            <a:extLst>
              <a:ext uri="{FF2B5EF4-FFF2-40B4-BE49-F238E27FC236}">
                <a16:creationId xmlns:a16="http://schemas.microsoft.com/office/drawing/2014/main" id="{9762EE82-5845-7EC1-3897-82EEDF47714E}"/>
              </a:ext>
            </a:extLst>
          </p:cNvPr>
          <p:cNvSpPr txBox="1"/>
          <p:nvPr/>
        </p:nvSpPr>
        <p:spPr>
          <a:xfrm>
            <a:off x="7987553" y="3191439"/>
            <a:ext cx="3796459" cy="3016210"/>
          </a:xfrm>
          <a:prstGeom prst="rect">
            <a:avLst/>
          </a:prstGeom>
          <a:noFill/>
        </p:spPr>
        <p:txBody>
          <a:bodyPr wrap="square" lIns="0" tIns="0" rIns="0" bIns="0" rtlCol="0">
            <a:spAutoFit/>
          </a:bodyPr>
          <a:lstStyle/>
          <a:p>
            <a:pPr algn="l"/>
            <a:r>
              <a:rPr lang="en-US" sz="1400" b="1" u="sng" dirty="0">
                <a:solidFill>
                  <a:schemeClr val="tx2"/>
                </a:solidFill>
              </a:rPr>
              <a:t>9.17.1  Billing Determinant Data Elements</a:t>
            </a:r>
          </a:p>
          <a:p>
            <a:pPr algn="l"/>
            <a:endParaRPr lang="en-US" sz="1400" dirty="0">
              <a:solidFill>
                <a:schemeClr val="tx2"/>
              </a:solidFill>
            </a:endParaRPr>
          </a:p>
          <a:p>
            <a:pPr algn="l"/>
            <a:r>
              <a:rPr lang="en-US" sz="1400" b="0" i="0" u="none" strike="noStrike" dirty="0">
                <a:solidFill>
                  <a:srgbClr val="000000"/>
                </a:solidFill>
                <a:effectLst/>
                <a:latin typeface="Calibri" panose="020F0502020204030204" pitchFamily="34" charset="0"/>
              </a:rPr>
              <a:t>(3) Coincidental MW peak is defined as the highest monthly Settlement Interval 15-minute MW peak for the entire ERCOT Transmission Grid as calculated per the following formula:  The sum of all net energy produced by Generation Resources + Settlement Only Generators (SOGs) + Block Load Transfers (BLTs) from ERCOT to another Control Area that have been registered for Settlement purposes + actual Direct Current Tie (DC Tie) imports - BLTs to ERCOT from another Control Area that are not reflected in a Non-Opt-In Entity’s (NOIE’s) Load - actual DC Tie exports </a:t>
            </a:r>
            <a:r>
              <a:rPr lang="en-US" sz="1400" b="1" i="0" u="none" strike="noStrike" dirty="0">
                <a:solidFill>
                  <a:srgbClr val="FF0000"/>
                </a:solidFill>
                <a:effectLst/>
                <a:latin typeface="Calibri" panose="020F0502020204030204" pitchFamily="34" charset="0"/>
              </a:rPr>
              <a:t>- Wholesale Storage Load (WSL)</a:t>
            </a:r>
            <a:r>
              <a:rPr lang="en-US" sz="1400" b="0" i="0" u="none" strike="noStrike" dirty="0">
                <a:solidFill>
                  <a:srgbClr val="000000"/>
                </a:solidFill>
                <a:effectLst/>
                <a:latin typeface="Calibri" panose="020F0502020204030204" pitchFamily="34" charset="0"/>
              </a:rPr>
              <a:t>.</a:t>
            </a:r>
            <a:r>
              <a:rPr lang="en-US" sz="1400" dirty="0"/>
              <a:t> </a:t>
            </a:r>
            <a:endParaRPr lang="en-US" sz="1400" dirty="0">
              <a:solidFill>
                <a:schemeClr val="tx2"/>
              </a:solidFill>
            </a:endParaRPr>
          </a:p>
        </p:txBody>
      </p:sp>
    </p:spTree>
    <p:extLst>
      <p:ext uri="{BB962C8B-B14F-4D97-AF65-F5344CB8AC3E}">
        <p14:creationId xmlns:p14="http://schemas.microsoft.com/office/powerpoint/2010/main" val="40210408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97A333-2FA3-D4B0-DC3A-4AEC1F3A14F6}"/>
              </a:ext>
            </a:extLst>
          </p:cNvPr>
          <p:cNvSpPr>
            <a:spLocks noGrp="1"/>
          </p:cNvSpPr>
          <p:nvPr>
            <p:ph type="sldNum" sz="quarter" idx="12"/>
          </p:nvPr>
        </p:nvSpPr>
        <p:spPr/>
        <p:txBody>
          <a:bodyPr/>
          <a:lstStyle/>
          <a:p>
            <a:fld id="{558C4CC7-2A35-421E-B553-155EEFD58513}" type="slidenum">
              <a:rPr lang="en-GB" smtClean="0"/>
              <a:t>2</a:t>
            </a:fld>
            <a:endParaRPr lang="en-GB"/>
          </a:p>
        </p:txBody>
      </p:sp>
      <p:sp>
        <p:nvSpPr>
          <p:cNvPr id="6" name="Title 5">
            <a:extLst>
              <a:ext uri="{FF2B5EF4-FFF2-40B4-BE49-F238E27FC236}">
                <a16:creationId xmlns:a16="http://schemas.microsoft.com/office/drawing/2014/main" id="{E121761E-505B-6ADA-F796-FC80F8F9B5DA}"/>
              </a:ext>
            </a:extLst>
          </p:cNvPr>
          <p:cNvSpPr>
            <a:spLocks noGrp="1"/>
          </p:cNvSpPr>
          <p:nvPr>
            <p:ph type="title"/>
          </p:nvPr>
        </p:nvSpPr>
        <p:spPr/>
        <p:txBody>
          <a:bodyPr/>
          <a:lstStyle/>
          <a:p>
            <a:r>
              <a:rPr lang="en-US" dirty="0"/>
              <a:t>4CP Continued</a:t>
            </a:r>
          </a:p>
        </p:txBody>
      </p:sp>
      <p:sp>
        <p:nvSpPr>
          <p:cNvPr id="7" name="TextBox 6">
            <a:extLst>
              <a:ext uri="{FF2B5EF4-FFF2-40B4-BE49-F238E27FC236}">
                <a16:creationId xmlns:a16="http://schemas.microsoft.com/office/drawing/2014/main" id="{ADBB4FA9-FAF6-ECFB-7915-3F2E96BE06DD}"/>
              </a:ext>
            </a:extLst>
          </p:cNvPr>
          <p:cNvSpPr txBox="1"/>
          <p:nvPr/>
        </p:nvSpPr>
        <p:spPr>
          <a:xfrm>
            <a:off x="407987" y="1246094"/>
            <a:ext cx="11376025" cy="4832092"/>
          </a:xfrm>
          <a:prstGeom prst="rect">
            <a:avLst/>
          </a:prstGeom>
          <a:noFill/>
        </p:spPr>
        <p:txBody>
          <a:bodyPr wrap="square" lIns="0" tIns="0" rIns="0" bIns="0" rtlCol="0">
            <a:spAutoFit/>
          </a:bodyPr>
          <a:lstStyle/>
          <a:p>
            <a:pPr algn="l"/>
            <a:r>
              <a:rPr lang="en-US" dirty="0">
                <a:solidFill>
                  <a:schemeClr val="tx2"/>
                </a:solidFill>
              </a:rPr>
              <a:t>Take away was DSWG participants wanted more transparency into variables that are included in 4CP like WSL.  ERCOT was evaluating inputs. </a:t>
            </a:r>
          </a:p>
          <a:p>
            <a:pPr algn="l"/>
            <a:endParaRPr lang="en-US" dirty="0">
              <a:solidFill>
                <a:schemeClr val="tx2"/>
              </a:solidFill>
            </a:endParaRPr>
          </a:p>
          <a:p>
            <a:pPr algn="l"/>
            <a:r>
              <a:rPr lang="en-US" dirty="0">
                <a:solidFill>
                  <a:schemeClr val="tx2"/>
                </a:solidFill>
              </a:rPr>
              <a:t>- WSL after the month ends</a:t>
            </a:r>
          </a:p>
          <a:p>
            <a:pPr algn="l"/>
            <a:r>
              <a:rPr lang="en-US" dirty="0">
                <a:solidFill>
                  <a:schemeClr val="tx2"/>
                </a:solidFill>
              </a:rPr>
              <a:t>- Following the TAC meeting ERCOT issued the below notice.</a:t>
            </a:r>
          </a:p>
          <a:p>
            <a:pPr algn="l"/>
            <a:endParaRPr lang="en-US" sz="1800" b="1" i="0" dirty="0">
              <a:solidFill>
                <a:srgbClr val="000000"/>
              </a:solidFill>
              <a:effectLst/>
              <a:latin typeface="Arial" panose="020B0604020202020204" pitchFamily="34" charset="0"/>
            </a:endParaRPr>
          </a:p>
          <a:p>
            <a:pPr marL="0" marR="0" algn="l">
              <a:spcBef>
                <a:spcPts val="0"/>
              </a:spcBef>
              <a:spcAft>
                <a:spcPts val="1200"/>
              </a:spcAft>
            </a:pPr>
            <a:r>
              <a:rPr lang="en-US" sz="1400" b="1" i="0" dirty="0">
                <a:solidFill>
                  <a:srgbClr val="000000"/>
                </a:solidFill>
                <a:effectLst/>
                <a:latin typeface="Arial" panose="020B0604020202020204" pitchFamily="34" charset="0"/>
              </a:rPr>
              <a:t>DAYS AFFECTED:</a:t>
            </a:r>
            <a:r>
              <a:rPr lang="en-US" sz="1400" b="0" i="0" dirty="0">
                <a:solidFill>
                  <a:srgbClr val="000000"/>
                </a:solidFill>
                <a:effectLst/>
                <a:latin typeface="Arial" panose="020B0604020202020204" pitchFamily="34" charset="0"/>
              </a:rPr>
              <a:t> August 1, 2024</a:t>
            </a:r>
            <a:endParaRPr lang="en-US" sz="1400" b="0" i="0" dirty="0">
              <a:solidFill>
                <a:srgbClr val="000000"/>
              </a:solidFill>
              <a:effectLst/>
              <a:latin typeface="Calibri" panose="020F0502020204030204" pitchFamily="34" charset="0"/>
            </a:endParaRPr>
          </a:p>
          <a:p>
            <a:pPr marL="0" marR="0" algn="l">
              <a:spcBef>
                <a:spcPts val="0"/>
              </a:spcBef>
              <a:spcAft>
                <a:spcPts val="1200"/>
              </a:spcAft>
            </a:pPr>
            <a:r>
              <a:rPr lang="en-US" sz="1400" b="1" i="0" dirty="0">
                <a:solidFill>
                  <a:srgbClr val="000000"/>
                </a:solidFill>
                <a:effectLst/>
                <a:latin typeface="Arial" panose="020B0604020202020204" pitchFamily="34" charset="0"/>
              </a:rPr>
              <a:t>LONG DESCRIPTION:</a:t>
            </a:r>
            <a:r>
              <a:rPr lang="en-US" sz="1400" b="0" i="0" dirty="0">
                <a:solidFill>
                  <a:srgbClr val="000000"/>
                </a:solidFill>
                <a:effectLst/>
                <a:latin typeface="Calibri" panose="020F0502020204030204" pitchFamily="34" charset="0"/>
              </a:rPr>
              <a:t> </a:t>
            </a:r>
            <a:r>
              <a:rPr lang="en-US" sz="1400" b="0" i="0" dirty="0">
                <a:solidFill>
                  <a:srgbClr val="000000"/>
                </a:solidFill>
                <a:effectLst/>
                <a:latin typeface="Arial" panose="020B0604020202020204" pitchFamily="34" charset="0"/>
              </a:rPr>
              <a:t>As discussed at the ERCOT TAC meeting on July 31, 2024, under agenda item 14, 4-CP Update, Market Participants should recognize that the Real-Time operational Load </a:t>
            </a:r>
            <a:r>
              <a:rPr lang="en-US" sz="1400" b="1" i="1" dirty="0">
                <a:solidFill>
                  <a:srgbClr val="000000"/>
                </a:solidFill>
                <a:effectLst/>
                <a:latin typeface="Arial" panose="020B0604020202020204" pitchFamily="34" charset="0"/>
              </a:rPr>
              <a:t>includes</a:t>
            </a:r>
            <a:r>
              <a:rPr lang="en-US" sz="1400" b="0" i="0" dirty="0">
                <a:solidFill>
                  <a:srgbClr val="000000"/>
                </a:solidFill>
                <a:effectLst/>
                <a:latin typeface="Arial" panose="020B0604020202020204" pitchFamily="34" charset="0"/>
              </a:rPr>
              <a:t> Wholesale Storage Load (WSL) while it is </a:t>
            </a:r>
            <a:r>
              <a:rPr lang="en-US" sz="1400" b="1" i="1" dirty="0">
                <a:solidFill>
                  <a:srgbClr val="000000"/>
                </a:solidFill>
                <a:effectLst/>
                <a:latin typeface="Arial" panose="020B0604020202020204" pitchFamily="34" charset="0"/>
              </a:rPr>
              <a:t>excluded</a:t>
            </a:r>
            <a:r>
              <a:rPr lang="en-US" sz="1400" b="0" i="0" dirty="0">
                <a:solidFill>
                  <a:srgbClr val="000000"/>
                </a:solidFill>
                <a:effectLst/>
                <a:latin typeface="Arial" panose="020B0604020202020204" pitchFamily="34" charset="0"/>
              </a:rPr>
              <a:t> from the Settlement 4-CP peak determination calculation pursuant to Protocol Section 9.17.1.  ERCOT uses the four 4-CP peak intervals to determine DSP level average 4-CP load ratio shares which are used by the PUCT in the allocation of Transmission Cost of Service for the ERCOT Region.</a:t>
            </a:r>
            <a:endParaRPr lang="en-US" sz="1400" b="0" i="0" dirty="0">
              <a:solidFill>
                <a:srgbClr val="000000"/>
              </a:solidFill>
              <a:effectLst/>
              <a:latin typeface="Calibri" panose="020F0502020204030204" pitchFamily="34" charset="0"/>
            </a:endParaRPr>
          </a:p>
          <a:p>
            <a:pPr marL="0" marR="0" algn="l">
              <a:spcBef>
                <a:spcPts val="0"/>
              </a:spcBef>
              <a:spcAft>
                <a:spcPts val="0"/>
              </a:spcAft>
            </a:pPr>
            <a:r>
              <a:rPr lang="en-US" sz="1400" b="0" i="0" dirty="0">
                <a:solidFill>
                  <a:srgbClr val="000000"/>
                </a:solidFill>
                <a:effectLst/>
                <a:latin typeface="Arial" panose="020B0604020202020204" pitchFamily="34" charset="0"/>
              </a:rPr>
              <a:t>Market Participants wanting to monitor potential 4-CP peak dates/times in near Real-Time may want to incorporate the ESR Charging Component of the Energy Storage Resource dashboard (which is equivalent to WSL) into their current monitoring process to align their data more closely with the Settlement 4-CP peak determination calculation.</a:t>
            </a:r>
          </a:p>
          <a:p>
            <a:pPr marL="0" marR="0" algn="l">
              <a:spcBef>
                <a:spcPts val="0"/>
              </a:spcBef>
              <a:spcAft>
                <a:spcPts val="0"/>
              </a:spcAft>
            </a:pPr>
            <a:endParaRPr lang="en-US" sz="1400" dirty="0">
              <a:solidFill>
                <a:srgbClr val="000000"/>
              </a:solidFill>
              <a:latin typeface="Arial" panose="020B0604020202020204" pitchFamily="34" charset="0"/>
            </a:endParaRPr>
          </a:p>
          <a:p>
            <a:r>
              <a:rPr lang="en-US" sz="1400" dirty="0">
                <a:solidFill>
                  <a:schemeClr val="tx2"/>
                </a:solidFill>
              </a:rPr>
              <a:t>Market participants I have discussed this item with still can’t back into actuals using ESR charging. There is a concern that if loads lose true transparency into the actual CPs that participation will decline. The adjustments will continue to grow with the increases in ESR deployment. </a:t>
            </a:r>
          </a:p>
          <a:p>
            <a:pPr marL="0" marR="0" algn="l">
              <a:spcBef>
                <a:spcPts val="0"/>
              </a:spcBef>
              <a:spcAft>
                <a:spcPts val="0"/>
              </a:spcAft>
            </a:pPr>
            <a:endParaRPr lang="en-US" sz="1400" b="0" i="0" dirty="0">
              <a:solidFill>
                <a:srgbClr val="000000"/>
              </a:solidFill>
              <a:effectLst/>
              <a:latin typeface="Calibri" panose="020F0502020204030204" pitchFamily="34" charset="0"/>
            </a:endParaRPr>
          </a:p>
          <a:p>
            <a:pPr algn="l"/>
            <a:r>
              <a:rPr lang="en-US" sz="1400" dirty="0">
                <a:solidFill>
                  <a:schemeClr val="tx2"/>
                </a:solidFill>
              </a:rPr>
              <a:t>Participants would like us to review the inputs and find a solution for real time visibility. </a:t>
            </a:r>
          </a:p>
        </p:txBody>
      </p:sp>
    </p:spTree>
    <p:extLst>
      <p:ext uri="{BB962C8B-B14F-4D97-AF65-F5344CB8AC3E}">
        <p14:creationId xmlns:p14="http://schemas.microsoft.com/office/powerpoint/2010/main" val="14971106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p T&amp;S Basic Template 2022">
  <a:themeElements>
    <a:clrScheme name="bp 2022">
      <a:dk1>
        <a:sysClr val="windowText" lastClr="000000"/>
      </a:dk1>
      <a:lt1>
        <a:sysClr val="window" lastClr="FFFFFF"/>
      </a:lt1>
      <a:dk2>
        <a:srgbClr val="666666"/>
      </a:dk2>
      <a:lt2>
        <a:srgbClr val="EBEBEB"/>
      </a:lt2>
      <a:accent1>
        <a:srgbClr val="007F00"/>
      </a:accent1>
      <a:accent2>
        <a:srgbClr val="99CC00"/>
      </a:accent2>
      <a:accent3>
        <a:srgbClr val="000099"/>
      </a:accent3>
      <a:accent4>
        <a:srgbClr val="999999"/>
      </a:accent4>
      <a:accent5>
        <a:srgbClr val="004F00"/>
      </a:accent5>
      <a:accent6>
        <a:srgbClr val="FFE600"/>
      </a:accent6>
      <a:hlink>
        <a:srgbClr val="009EE0"/>
      </a:hlink>
      <a:folHlink>
        <a:srgbClr val="FF9900"/>
      </a:folHlink>
    </a:clrScheme>
    <a:fontScheme name="Custom 89">
      <a:majorFont>
        <a:latin typeface="Univers for BP"/>
        <a:ea typeface=""/>
        <a:cs typeface=""/>
      </a:majorFont>
      <a:minorFont>
        <a:latin typeface="Univers for B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bp_Base Template Expert_v01.potx" id="{BE1A226E-CC17-4D02-AC4E-4E6D1C88374B}" vid="{C34160FE-FE6D-4887-B9DE-8437E5D3D22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bb736b2-6d24-49a8-bb2e-9a99d08bc788">
      <Terms xmlns="http://schemas.microsoft.com/office/infopath/2007/PartnerControls"/>
    </lcf76f155ced4ddcb4097134ff3c332f>
    <TaxCatchAll xmlns="b23b8984-eafa-4e79-985e-54f52f3da58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0177E97F2BBC14B8DD20344BC564FDA" ma:contentTypeVersion="16" ma:contentTypeDescription="Create a new document." ma:contentTypeScope="" ma:versionID="37d3b868e166d28b162c1b115ffe6a49">
  <xsd:schema xmlns:xsd="http://www.w3.org/2001/XMLSchema" xmlns:xs="http://www.w3.org/2001/XMLSchema" xmlns:p="http://schemas.microsoft.com/office/2006/metadata/properties" xmlns:ns2="cbb736b2-6d24-49a8-bb2e-9a99d08bc788" xmlns:ns3="738c4d78-ce99-4114-a624-d8b70fbc4ea2" xmlns:ns4="b23b8984-eafa-4e79-985e-54f52f3da58e" targetNamespace="http://schemas.microsoft.com/office/2006/metadata/properties" ma:root="true" ma:fieldsID="5234b545a8e6d00384cbd48815533efe" ns2:_="" ns3:_="" ns4:_="">
    <xsd:import namespace="cbb736b2-6d24-49a8-bb2e-9a99d08bc788"/>
    <xsd:import namespace="738c4d78-ce99-4114-a624-d8b70fbc4ea2"/>
    <xsd:import namespace="b23b8984-eafa-4e79-985e-54f52f3da58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CR"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b736b2-6d24-49a8-bb2e-9a99d08bc7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1e0e634-2f09-4e55-a821-ed671eb111c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38c4d78-ce99-4114-a624-d8b70fbc4ea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23b8984-eafa-4e79-985e-54f52f3da58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9d68e09e-d43f-4305-8c9c-eae3ed7da6bb}" ma:internalName="TaxCatchAll" ma:showField="CatchAllData" ma:web="738c4d78-ce99-4114-a624-d8b70fbc4e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580248D-760F-49E2-8491-E74C61572EE6}">
  <ds:schemaRefs>
    <ds:schemaRef ds:uri="http://schemas.openxmlformats.org/package/2006/metadata/core-properties"/>
    <ds:schemaRef ds:uri="http://purl.org/dc/elements/1.1/"/>
    <ds:schemaRef ds:uri="http://schemas.microsoft.com/office/2006/metadata/properties"/>
    <ds:schemaRef ds:uri="b23b8984-eafa-4e79-985e-54f52f3da58e"/>
    <ds:schemaRef ds:uri="http://purl.org/dc/terms/"/>
    <ds:schemaRef ds:uri="http://schemas.microsoft.com/office/infopath/2007/PartnerControls"/>
    <ds:schemaRef ds:uri="http://schemas.microsoft.com/office/2006/documentManagement/types"/>
    <ds:schemaRef ds:uri="738c4d78-ce99-4114-a624-d8b70fbc4ea2"/>
    <ds:schemaRef ds:uri="http://www.w3.org/XML/1998/namespace"/>
    <ds:schemaRef ds:uri="cbb736b2-6d24-49a8-bb2e-9a99d08bc788"/>
    <ds:schemaRef ds:uri="http://purl.org/dc/dcmitype/"/>
  </ds:schemaRefs>
</ds:datastoreItem>
</file>

<file path=customXml/itemProps2.xml><?xml version="1.0" encoding="utf-8"?>
<ds:datastoreItem xmlns:ds="http://schemas.openxmlformats.org/officeDocument/2006/customXml" ds:itemID="{2EFF3547-CAF5-4556-931B-53ADB1B7BA1A}">
  <ds:schemaRefs>
    <ds:schemaRef ds:uri="738c4d78-ce99-4114-a624-d8b70fbc4ea2"/>
    <ds:schemaRef ds:uri="b23b8984-eafa-4e79-985e-54f52f3da58e"/>
    <ds:schemaRef ds:uri="cbb736b2-6d24-49a8-bb2e-9a99d08bc78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BE2D0C4-103C-48F9-BB5A-D4C508F80044}">
  <ds:schemaRefs>
    <ds:schemaRef ds:uri="http://schemas.microsoft.com/sharepoint/v3/contenttype/forms"/>
  </ds:schemaRefs>
</ds:datastoreItem>
</file>

<file path=docMetadata/LabelInfo.xml><?xml version="1.0" encoding="utf-8"?>
<clbl:labelList xmlns:clbl="http://schemas.microsoft.com/office/2020/mipLabelMetadata">
  <clbl:label id="{569bf4a9-87bd-4dbf-a36c-1db5158e5def}" enabled="1" method="Privileged" siteId="{ea80952e-a476-42d4-aaf4-5457852b0f7e}" removed="0"/>
</clbl:labelList>
</file>

<file path=docProps/app.xml><?xml version="1.0" encoding="utf-8"?>
<Properties xmlns="http://schemas.openxmlformats.org/officeDocument/2006/extended-properties" xmlns:vt="http://schemas.openxmlformats.org/officeDocument/2006/docPropsVTypes">
  <Template/>
  <TotalTime>41191</TotalTime>
  <Words>418</Words>
  <Application>Microsoft Office PowerPoint</Application>
  <PresentationFormat>Widescreen</PresentationFormat>
  <Paragraphs>26</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Univers for BP Light</vt:lpstr>
      <vt:lpstr>Arial</vt:lpstr>
      <vt:lpstr>Calibri</vt:lpstr>
      <vt:lpstr>Univers for BP</vt:lpstr>
      <vt:lpstr>bp T&amp;S Basic Template 2022</vt:lpstr>
      <vt:lpstr>think-cell Slide</vt:lpstr>
      <vt:lpstr>DSWG REVIEW</vt:lpstr>
      <vt:lpstr>4CP Continu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Osborn</dc:creator>
  <cp:lastModifiedBy>Hanson, Pamela</cp:lastModifiedBy>
  <cp:revision>28</cp:revision>
  <cp:lastPrinted>2024-04-04T12:46:27Z</cp:lastPrinted>
  <dcterms:created xsi:type="dcterms:W3CDTF">2021-09-02T14:07:55Z</dcterms:created>
  <dcterms:modified xsi:type="dcterms:W3CDTF">2024-08-07T13:4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77E97F2BBC14B8DD20344BC564FDA</vt:lpwstr>
  </property>
  <property fmtid="{D5CDD505-2E9C-101B-9397-08002B2CF9AE}" pid="3" name="MediaServiceImageTags">
    <vt:lpwstr/>
  </property>
  <property fmtid="{D5CDD505-2E9C-101B-9397-08002B2CF9AE}" pid="4" name="MSIP_Label_7084cbda-52b8-46fb-a7b7-cb5bd465ed85_Enabled">
    <vt:lpwstr>true</vt:lpwstr>
  </property>
  <property fmtid="{D5CDD505-2E9C-101B-9397-08002B2CF9AE}" pid="5" name="MSIP_Label_7084cbda-52b8-46fb-a7b7-cb5bd465ed85_SetDate">
    <vt:lpwstr>2024-08-07T13:45:34Z</vt:lpwstr>
  </property>
  <property fmtid="{D5CDD505-2E9C-101B-9397-08002B2CF9AE}" pid="6" name="MSIP_Label_7084cbda-52b8-46fb-a7b7-cb5bd465ed85_Method">
    <vt:lpwstr>Standard</vt:lpwstr>
  </property>
  <property fmtid="{D5CDD505-2E9C-101B-9397-08002B2CF9AE}" pid="7" name="MSIP_Label_7084cbda-52b8-46fb-a7b7-cb5bd465ed85_Name">
    <vt:lpwstr>Internal</vt:lpwstr>
  </property>
  <property fmtid="{D5CDD505-2E9C-101B-9397-08002B2CF9AE}" pid="8" name="MSIP_Label_7084cbda-52b8-46fb-a7b7-cb5bd465ed85_SiteId">
    <vt:lpwstr>0afb747d-bff7-4596-a9fc-950ef9e0ec45</vt:lpwstr>
  </property>
  <property fmtid="{D5CDD505-2E9C-101B-9397-08002B2CF9AE}" pid="9" name="MSIP_Label_7084cbda-52b8-46fb-a7b7-cb5bd465ed85_ActionId">
    <vt:lpwstr>0acee559-ba8f-46ba-bd94-c3f9b4cc989c</vt:lpwstr>
  </property>
  <property fmtid="{D5CDD505-2E9C-101B-9397-08002B2CF9AE}" pid="10" name="MSIP_Label_7084cbda-52b8-46fb-a7b7-cb5bd465ed85_ContentBits">
    <vt:lpwstr>0</vt:lpwstr>
  </property>
</Properties>
</file>